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3.xml" ContentType="application/vnd.openxmlformats-officedocument.theme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4.xml" ContentType="application/vnd.openxmlformats-officedocument.theme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5.xml" ContentType="application/vnd.openxmlformats-officedocument.theme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6.xml" ContentType="application/vnd.openxmlformats-officedocument.theme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7.xml" ContentType="application/vnd.openxmlformats-officedocument.theme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8.xml" ContentType="application/vnd.openxmlformats-officedocument.theme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9.xml" ContentType="application/vnd.openxmlformats-officedocument.theme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heme/theme10.xml" ContentType="application/vnd.openxmlformats-officedocument.theme+xml"/>
  <Override PartName="/ppt/theme/theme11.xml" ContentType="application/vnd.openxmlformats-officedocument.theme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notesSlides/notesSlide1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68" r:id="rId4"/>
    <p:sldMasterId id="2147483686" r:id="rId5"/>
    <p:sldMasterId id="2147483705" r:id="rId6"/>
    <p:sldMasterId id="2147483715" r:id="rId7"/>
    <p:sldMasterId id="2147483720" r:id="rId8"/>
    <p:sldMasterId id="2147483725" r:id="rId9"/>
    <p:sldMasterId id="2147483728" r:id="rId10"/>
    <p:sldMasterId id="2147483734" r:id="rId11"/>
    <p:sldMasterId id="2147483741" r:id="rId12"/>
  </p:sldMasterIdLst>
  <p:notesMasterIdLst>
    <p:notesMasterId r:id="rId26"/>
  </p:notesMasterIdLst>
  <p:handoutMasterIdLst>
    <p:handoutMasterId r:id="rId27"/>
  </p:handoutMasterIdLst>
  <p:sldIdLst>
    <p:sldId id="258" r:id="rId13"/>
    <p:sldId id="2147377558" r:id="rId14"/>
    <p:sldId id="2147377572" r:id="rId15"/>
    <p:sldId id="2147377566" r:id="rId16"/>
    <p:sldId id="2147377570" r:id="rId17"/>
    <p:sldId id="2147377568" r:id="rId18"/>
    <p:sldId id="2147377564" r:id="rId19"/>
    <p:sldId id="2147377571" r:id="rId20"/>
    <p:sldId id="2147377555" r:id="rId21"/>
    <p:sldId id="2147377586" r:id="rId22"/>
    <p:sldId id="2147377557" r:id="rId23"/>
    <p:sldId id="2147377569" r:id="rId24"/>
    <p:sldId id="2126986485" r:id="rId25"/>
  </p:sldIdLst>
  <p:sldSz cx="12192000" cy="6858000"/>
  <p:notesSz cx="12192000" cy="6858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3AEE04E-B4AB-9833-2C4A-F716C8D65E42}" name="Alageel, Sara" initials="SA" userId="S::ageelsn@KAPSARC.ORG::0a13971d-4855-453d-bb2a-7f2769671d22" providerId="AD"/>
  <p188:author id="{AFC60950-C3DA-11D5-A1AF-19ECBDBA1F70}" name="Aldowais, Aljawharah" initials="AA" userId="S::dowaisaa@KAPSARC.ORG::fee38828-5188-47e3-a4bb-deded5edb184" providerId="AD"/>
  <p188:author id="{EE20BA58-866A-03B1-03D9-87EB1D16BC6C}" name="Alshiddi, Abdulaziz" initials="AA" userId="S::shiddiaa@KAPSARC.ORG::451f9c99-68db-47e1-b124-cb5e4d9283c2" providerId="AD"/>
  <p188:author id="{39C0E67B-0B2F-06D3-90FC-E99927AFE47C}" name="Karanfil, Fatih" initials="KF" userId="S::karanff@KAPSARC.ORG::0cc277bf-29b4-42b7-8562-324ba398aeda" providerId="AD"/>
  <p188:author id="{3099F298-A293-92B2-D912-2A64A9B1E29E}" name="Nouf, Alazzam" initials="NA" userId="S::noufa@KAPSARC.ORG::a28f1c88-bfff-4879-921a-803b6633c8e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CC"/>
    <a:srgbClr val="F2F2F2"/>
    <a:srgbClr val="006296"/>
    <a:srgbClr val="8AC58F"/>
    <a:srgbClr val="A6BEB1"/>
    <a:srgbClr val="87C58F"/>
    <a:srgbClr val="E7F3E9"/>
    <a:srgbClr val="5D9E54"/>
    <a:srgbClr val="008B96"/>
    <a:srgbClr val="A9C7A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B9BE48E-0527-4AF2-BA93-FFD8F4CD1B97}" v="14" dt="2023-12-15T19:06:44.175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484" autoAdjust="0"/>
    <p:restoredTop sz="96005" autoAdjust="0"/>
  </p:normalViewPr>
  <p:slideViewPr>
    <p:cSldViewPr snapToGrid="0">
      <p:cViewPr varScale="1">
        <p:scale>
          <a:sx n="70" d="100"/>
          <a:sy n="70" d="100"/>
        </p:scale>
        <p:origin x="792" y="60"/>
      </p:cViewPr>
      <p:guideLst>
        <p:guide orient="horz" pos="2880"/>
        <p:guide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9.xml"/><Relationship Id="rId34" Type="http://schemas.microsoft.com/office/2018/10/relationships/authors" Target="author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2.xml"/><Relationship Id="rId32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7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Relationship Id="rId8" Type="http://schemas.openxmlformats.org/officeDocument/2006/relationships/slideMaster" Target="slideMasters/slideMaster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aranfil, Fatih" userId="0cc277bf-29b4-42b7-8562-324ba398aeda" providerId="ADAL" clId="{9B9BE48E-0527-4AF2-BA93-FFD8F4CD1B97}"/>
    <pc:docChg chg="delSld modSld">
      <pc:chgData name="Karanfil, Fatih" userId="0cc277bf-29b4-42b7-8562-324ba398aeda" providerId="ADAL" clId="{9B9BE48E-0527-4AF2-BA93-FFD8F4CD1B97}" dt="2023-12-15T19:06:44.175" v="31" actId="20577"/>
      <pc:docMkLst>
        <pc:docMk/>
      </pc:docMkLst>
      <pc:sldChg chg="modSp mod">
        <pc:chgData name="Karanfil, Fatih" userId="0cc277bf-29b4-42b7-8562-324ba398aeda" providerId="ADAL" clId="{9B9BE48E-0527-4AF2-BA93-FFD8F4CD1B97}" dt="2023-12-15T12:23:02.322" v="15" actId="20577"/>
        <pc:sldMkLst>
          <pc:docMk/>
          <pc:sldMk cId="61921715" sldId="258"/>
        </pc:sldMkLst>
        <pc:spChg chg="mod">
          <ac:chgData name="Karanfil, Fatih" userId="0cc277bf-29b4-42b7-8562-324ba398aeda" providerId="ADAL" clId="{9B9BE48E-0527-4AF2-BA93-FFD8F4CD1B97}" dt="2023-12-15T12:23:02.322" v="15" actId="20577"/>
          <ac:spMkLst>
            <pc:docMk/>
            <pc:sldMk cId="61921715" sldId="258"/>
            <ac:spMk id="4" creationId="{806FD97B-691F-4513-92F7-37A1FAC29B8E}"/>
          </ac:spMkLst>
        </pc:spChg>
      </pc:sldChg>
      <pc:sldChg chg="modSp mod">
        <pc:chgData name="Karanfil, Fatih" userId="0cc277bf-29b4-42b7-8562-324ba398aeda" providerId="ADAL" clId="{9B9BE48E-0527-4AF2-BA93-FFD8F4CD1B97}" dt="2023-12-15T19:03:55.768" v="27" actId="20577"/>
        <pc:sldMkLst>
          <pc:docMk/>
          <pc:sldMk cId="3554655523" sldId="2147377558"/>
        </pc:sldMkLst>
        <pc:spChg chg="mod">
          <ac:chgData name="Karanfil, Fatih" userId="0cc277bf-29b4-42b7-8562-324ba398aeda" providerId="ADAL" clId="{9B9BE48E-0527-4AF2-BA93-FFD8F4CD1B97}" dt="2023-12-15T19:03:44.513" v="21" actId="20577"/>
          <ac:spMkLst>
            <pc:docMk/>
            <pc:sldMk cId="3554655523" sldId="2147377558"/>
            <ac:spMk id="12" creationId="{A2DC213B-D616-D4BC-3AAB-8D49A884A622}"/>
          </ac:spMkLst>
        </pc:spChg>
        <pc:spChg chg="mod">
          <ac:chgData name="Karanfil, Fatih" userId="0cc277bf-29b4-42b7-8562-324ba398aeda" providerId="ADAL" clId="{9B9BE48E-0527-4AF2-BA93-FFD8F4CD1B97}" dt="2023-12-15T19:03:55.768" v="27" actId="20577"/>
          <ac:spMkLst>
            <pc:docMk/>
            <pc:sldMk cId="3554655523" sldId="2147377558"/>
            <ac:spMk id="22" creationId="{9EDEA1CD-3155-083E-8F3F-D7866D28DAD6}"/>
          </ac:spMkLst>
        </pc:spChg>
      </pc:sldChg>
      <pc:sldChg chg="modSp">
        <pc:chgData name="Karanfil, Fatih" userId="0cc277bf-29b4-42b7-8562-324ba398aeda" providerId="ADAL" clId="{9B9BE48E-0527-4AF2-BA93-FFD8F4CD1B97}" dt="2023-12-15T19:06:44.175" v="31" actId="20577"/>
        <pc:sldMkLst>
          <pc:docMk/>
          <pc:sldMk cId="1550914750" sldId="2147377566"/>
        </pc:sldMkLst>
        <pc:spChg chg="mod">
          <ac:chgData name="Karanfil, Fatih" userId="0cc277bf-29b4-42b7-8562-324ba398aeda" providerId="ADAL" clId="{9B9BE48E-0527-4AF2-BA93-FFD8F4CD1B97}" dt="2023-12-15T19:06:44.175" v="31" actId="20577"/>
          <ac:spMkLst>
            <pc:docMk/>
            <pc:sldMk cId="1550914750" sldId="2147377566"/>
            <ac:spMk id="11" creationId="{E25B94B0-1DAD-EC75-E80F-D42D38626258}"/>
          </ac:spMkLst>
        </pc:spChg>
      </pc:sldChg>
      <pc:sldChg chg="del">
        <pc:chgData name="Karanfil, Fatih" userId="0cc277bf-29b4-42b7-8562-324ba398aeda" providerId="ADAL" clId="{9B9BE48E-0527-4AF2-BA93-FFD8F4CD1B97}" dt="2023-12-15T12:18:28.501" v="1" actId="47"/>
        <pc:sldMkLst>
          <pc:docMk/>
          <pc:sldMk cId="2718504808" sldId="2147377573"/>
        </pc:sldMkLst>
      </pc:sldChg>
      <pc:sldChg chg="del">
        <pc:chgData name="Karanfil, Fatih" userId="0cc277bf-29b4-42b7-8562-324ba398aeda" providerId="ADAL" clId="{9B9BE48E-0527-4AF2-BA93-FFD8F4CD1B97}" dt="2023-12-15T12:18:31.242" v="2" actId="47"/>
        <pc:sldMkLst>
          <pc:docMk/>
          <pc:sldMk cId="1330556349" sldId="2147377574"/>
        </pc:sldMkLst>
      </pc:sldChg>
      <pc:sldChg chg="del">
        <pc:chgData name="Karanfil, Fatih" userId="0cc277bf-29b4-42b7-8562-324ba398aeda" providerId="ADAL" clId="{9B9BE48E-0527-4AF2-BA93-FFD8F4CD1B97}" dt="2023-12-15T12:18:34.163" v="3" actId="47"/>
        <pc:sldMkLst>
          <pc:docMk/>
          <pc:sldMk cId="962605037" sldId="2147377575"/>
        </pc:sldMkLst>
      </pc:sldChg>
      <pc:sldChg chg="del">
        <pc:chgData name="Karanfil, Fatih" userId="0cc277bf-29b4-42b7-8562-324ba398aeda" providerId="ADAL" clId="{9B9BE48E-0527-4AF2-BA93-FFD8F4CD1B97}" dt="2023-12-15T12:18:35.255" v="4" actId="47"/>
        <pc:sldMkLst>
          <pc:docMk/>
          <pc:sldMk cId="3416286211" sldId="2147377576"/>
        </pc:sldMkLst>
      </pc:sldChg>
      <pc:sldChg chg="del">
        <pc:chgData name="Karanfil, Fatih" userId="0cc277bf-29b4-42b7-8562-324ba398aeda" providerId="ADAL" clId="{9B9BE48E-0527-4AF2-BA93-FFD8F4CD1B97}" dt="2023-12-15T12:18:36.377" v="5" actId="47"/>
        <pc:sldMkLst>
          <pc:docMk/>
          <pc:sldMk cId="866815137" sldId="2147377577"/>
        </pc:sldMkLst>
      </pc:sldChg>
      <pc:sldChg chg="del">
        <pc:chgData name="Karanfil, Fatih" userId="0cc277bf-29b4-42b7-8562-324ba398aeda" providerId="ADAL" clId="{9B9BE48E-0527-4AF2-BA93-FFD8F4CD1B97}" dt="2023-12-15T12:18:39.371" v="6" actId="47"/>
        <pc:sldMkLst>
          <pc:docMk/>
          <pc:sldMk cId="313443495" sldId="2147377578"/>
        </pc:sldMkLst>
      </pc:sldChg>
      <pc:sldChg chg="del">
        <pc:chgData name="Karanfil, Fatih" userId="0cc277bf-29b4-42b7-8562-324ba398aeda" providerId="ADAL" clId="{9B9BE48E-0527-4AF2-BA93-FFD8F4CD1B97}" dt="2023-12-15T12:18:44.902" v="7" actId="47"/>
        <pc:sldMkLst>
          <pc:docMk/>
          <pc:sldMk cId="4195493652" sldId="2147377579"/>
        </pc:sldMkLst>
      </pc:sldChg>
      <pc:sldChg chg="del">
        <pc:chgData name="Karanfil, Fatih" userId="0cc277bf-29b4-42b7-8562-324ba398aeda" providerId="ADAL" clId="{9B9BE48E-0527-4AF2-BA93-FFD8F4CD1B97}" dt="2023-12-15T12:18:46.217" v="8" actId="47"/>
        <pc:sldMkLst>
          <pc:docMk/>
          <pc:sldMk cId="1353977032" sldId="2147377580"/>
        </pc:sldMkLst>
      </pc:sldChg>
      <pc:sldChg chg="del">
        <pc:chgData name="Karanfil, Fatih" userId="0cc277bf-29b4-42b7-8562-324ba398aeda" providerId="ADAL" clId="{9B9BE48E-0527-4AF2-BA93-FFD8F4CD1B97}" dt="2023-12-15T12:18:49.188" v="9" actId="47"/>
        <pc:sldMkLst>
          <pc:docMk/>
          <pc:sldMk cId="879614682" sldId="2147377581"/>
        </pc:sldMkLst>
      </pc:sldChg>
      <pc:sldChg chg="del">
        <pc:chgData name="Karanfil, Fatih" userId="0cc277bf-29b4-42b7-8562-324ba398aeda" providerId="ADAL" clId="{9B9BE48E-0527-4AF2-BA93-FFD8F4CD1B97}" dt="2023-12-15T12:18:51.331" v="11" actId="47"/>
        <pc:sldMkLst>
          <pc:docMk/>
          <pc:sldMk cId="1035378629" sldId="2147377582"/>
        </pc:sldMkLst>
      </pc:sldChg>
      <pc:sldChg chg="del">
        <pc:chgData name="Karanfil, Fatih" userId="0cc277bf-29b4-42b7-8562-324ba398aeda" providerId="ADAL" clId="{9B9BE48E-0527-4AF2-BA93-FFD8F4CD1B97}" dt="2023-12-15T12:18:54.028" v="12" actId="47"/>
        <pc:sldMkLst>
          <pc:docMk/>
          <pc:sldMk cId="623310767" sldId="2147377583"/>
        </pc:sldMkLst>
      </pc:sldChg>
      <pc:sldChg chg="del">
        <pc:chgData name="Karanfil, Fatih" userId="0cc277bf-29b4-42b7-8562-324ba398aeda" providerId="ADAL" clId="{9B9BE48E-0527-4AF2-BA93-FFD8F4CD1B97}" dt="2023-12-15T12:18:25.738" v="0" actId="47"/>
        <pc:sldMkLst>
          <pc:docMk/>
          <pc:sldMk cId="2768081481" sldId="2147377584"/>
        </pc:sldMkLst>
      </pc:sldChg>
      <pc:sldChg chg="del">
        <pc:chgData name="Karanfil, Fatih" userId="0cc277bf-29b4-42b7-8562-324ba398aeda" providerId="ADAL" clId="{9B9BE48E-0527-4AF2-BA93-FFD8F4CD1B97}" dt="2023-12-15T12:18:50.198" v="10" actId="47"/>
        <pc:sldMkLst>
          <pc:docMk/>
          <pc:sldMk cId="1830255357" sldId="2147377585"/>
        </pc:sldMkLst>
      </pc:sldChg>
    </pc:docChg>
  </pc:docChgLst>
  <pc:docChgLst>
    <pc:chgData name="Karanfil, Fatih" userId="0cc277bf-29b4-42b7-8562-324ba398aeda" providerId="ADAL" clId="{8C1649D5-6BD7-440F-90AB-97276E68C53E}"/>
    <pc:docChg chg="modSld">
      <pc:chgData name="Karanfil, Fatih" userId="0cc277bf-29b4-42b7-8562-324ba398aeda" providerId="ADAL" clId="{8C1649D5-6BD7-440F-90AB-97276E68C53E}" dt="2023-12-06T05:33:20.451" v="128" actId="404"/>
      <pc:docMkLst>
        <pc:docMk/>
      </pc:docMkLst>
      <pc:sldChg chg="modSp">
        <pc:chgData name="Karanfil, Fatih" userId="0cc277bf-29b4-42b7-8562-324ba398aeda" providerId="ADAL" clId="{8C1649D5-6BD7-440F-90AB-97276E68C53E}" dt="2023-12-06T04:45:20.994" v="3" actId="207"/>
        <pc:sldMkLst>
          <pc:docMk/>
          <pc:sldMk cId="3554655523" sldId="2147377558"/>
        </pc:sldMkLst>
        <pc:spChg chg="mod">
          <ac:chgData name="Karanfil, Fatih" userId="0cc277bf-29b4-42b7-8562-324ba398aeda" providerId="ADAL" clId="{8C1649D5-6BD7-440F-90AB-97276E68C53E}" dt="2023-12-06T04:45:11.331" v="1" actId="207"/>
          <ac:spMkLst>
            <pc:docMk/>
            <pc:sldMk cId="3554655523" sldId="2147377558"/>
            <ac:spMk id="3" creationId="{E7AE2057-1EAC-9FDD-89B8-B1C65CF8AECB}"/>
          </ac:spMkLst>
        </pc:spChg>
        <pc:spChg chg="mod">
          <ac:chgData name="Karanfil, Fatih" userId="0cc277bf-29b4-42b7-8562-324ba398aeda" providerId="ADAL" clId="{8C1649D5-6BD7-440F-90AB-97276E68C53E}" dt="2023-12-06T04:45:20.994" v="3" actId="207"/>
          <ac:spMkLst>
            <pc:docMk/>
            <pc:sldMk cId="3554655523" sldId="2147377558"/>
            <ac:spMk id="4" creationId="{EF36B386-5136-66AB-4FEF-96E465C3BC9C}"/>
          </ac:spMkLst>
        </pc:spChg>
      </pc:sldChg>
      <pc:sldChg chg="modSp mod">
        <pc:chgData name="Karanfil, Fatih" userId="0cc277bf-29b4-42b7-8562-324ba398aeda" providerId="ADAL" clId="{8C1649D5-6BD7-440F-90AB-97276E68C53E}" dt="2023-12-06T05:16:37.824" v="56"/>
        <pc:sldMkLst>
          <pc:docMk/>
          <pc:sldMk cId="1034099524" sldId="2147377564"/>
        </pc:sldMkLst>
        <pc:spChg chg="mod">
          <ac:chgData name="Karanfil, Fatih" userId="0cc277bf-29b4-42b7-8562-324ba398aeda" providerId="ADAL" clId="{8C1649D5-6BD7-440F-90AB-97276E68C53E}" dt="2023-12-06T05:16:37.824" v="56"/>
          <ac:spMkLst>
            <pc:docMk/>
            <pc:sldMk cId="1034099524" sldId="2147377564"/>
            <ac:spMk id="5" creationId="{316B8079-4A76-825B-BA7C-2BAA58813591}"/>
          </ac:spMkLst>
        </pc:spChg>
      </pc:sldChg>
      <pc:sldChg chg="modSp">
        <pc:chgData name="Karanfil, Fatih" userId="0cc277bf-29b4-42b7-8562-324ba398aeda" providerId="ADAL" clId="{8C1649D5-6BD7-440F-90AB-97276E68C53E}" dt="2023-12-06T04:47:15.506" v="8" actId="20577"/>
        <pc:sldMkLst>
          <pc:docMk/>
          <pc:sldMk cId="1723644273" sldId="2147377570"/>
        </pc:sldMkLst>
        <pc:spChg chg="mod">
          <ac:chgData name="Karanfil, Fatih" userId="0cc277bf-29b4-42b7-8562-324ba398aeda" providerId="ADAL" clId="{8C1649D5-6BD7-440F-90AB-97276E68C53E}" dt="2023-12-06T04:47:15.506" v="8" actId="20577"/>
          <ac:spMkLst>
            <pc:docMk/>
            <pc:sldMk cId="1723644273" sldId="2147377570"/>
            <ac:spMk id="3" creationId="{3609E5FD-5A28-9639-6846-26AE71A1C0AA}"/>
          </ac:spMkLst>
        </pc:spChg>
      </pc:sldChg>
      <pc:sldChg chg="modSp">
        <pc:chgData name="Karanfil, Fatih" userId="0cc277bf-29b4-42b7-8562-324ba398aeda" providerId="ADAL" clId="{8C1649D5-6BD7-440F-90AB-97276E68C53E}" dt="2023-12-06T05:33:20.451" v="128" actId="404"/>
        <pc:sldMkLst>
          <pc:docMk/>
          <pc:sldMk cId="313443495" sldId="2147377578"/>
        </pc:sldMkLst>
        <pc:spChg chg="mod">
          <ac:chgData name="Karanfil, Fatih" userId="0cc277bf-29b4-42b7-8562-324ba398aeda" providerId="ADAL" clId="{8C1649D5-6BD7-440F-90AB-97276E68C53E}" dt="2023-12-06T05:33:20.451" v="128" actId="404"/>
          <ac:spMkLst>
            <pc:docMk/>
            <pc:sldMk cId="313443495" sldId="2147377578"/>
            <ac:spMk id="2" creationId="{4478B002-FFFB-F8E2-6D8A-28F7DF4CC3B7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7969E95-8A41-45A7-A46C-53BE883D9AD9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00D661F-D017-498C-9E49-C0B8D61B41D2}">
      <dgm:prSet phldrT="[Text]" custT="1"/>
      <dgm:spPr/>
      <dgm:t>
        <a:bodyPr/>
        <a:lstStyle/>
        <a:p>
          <a:pPr>
            <a:buClr>
              <a:schemeClr val="accent2"/>
            </a:buClr>
            <a:buFont typeface="Wingdings" panose="05000000000000000000" pitchFamily="2" charset="2"/>
            <a:buChar char="§"/>
          </a:pPr>
          <a:r>
            <a:rPr lang="en-US" sz="1800" dirty="0">
              <a:latin typeface="Cambria" panose="02040503050406030204" pitchFamily="18" charset="0"/>
              <a:ea typeface="Calibri" panose="020F0502020204030204" pitchFamily="34" charset="0"/>
              <a:cs typeface="Arial" panose="020B0604020202020204" pitchFamily="34" charset="0"/>
            </a:rPr>
            <a:t>Which effect holds greater significance?</a:t>
          </a:r>
          <a:endParaRPr lang="en-US" sz="1800" dirty="0"/>
        </a:p>
      </dgm:t>
    </dgm:pt>
    <dgm:pt modelId="{27B3C793-6C4F-4B4F-B4FC-AF02C471DDE6}" type="parTrans" cxnId="{B3847210-7859-46C6-8FE8-0D74A8C4AC12}">
      <dgm:prSet/>
      <dgm:spPr/>
      <dgm:t>
        <a:bodyPr/>
        <a:lstStyle/>
        <a:p>
          <a:endParaRPr lang="en-US" sz="2800"/>
        </a:p>
      </dgm:t>
    </dgm:pt>
    <dgm:pt modelId="{A39728E8-F62B-4E1E-B14F-7959708F5E90}" type="sibTrans" cxnId="{B3847210-7859-46C6-8FE8-0D74A8C4AC12}">
      <dgm:prSet/>
      <dgm:spPr/>
      <dgm:t>
        <a:bodyPr/>
        <a:lstStyle/>
        <a:p>
          <a:endParaRPr lang="en-US" sz="2800"/>
        </a:p>
      </dgm:t>
    </dgm:pt>
    <dgm:pt modelId="{D36451D2-2D1B-46CD-A01E-B8A2A2B32EFA}">
      <dgm:prSet phldrT="[Text]" custT="1"/>
      <dgm:spPr/>
      <dgm:t>
        <a:bodyPr/>
        <a:lstStyle/>
        <a:p>
          <a:pPr>
            <a:buClr>
              <a:schemeClr val="accent2"/>
            </a:buClr>
            <a:buFont typeface="Wingdings" panose="05000000000000000000" pitchFamily="2" charset="2"/>
            <a:buChar char="§"/>
          </a:pPr>
          <a:r>
            <a:rPr lang="en-US" sz="1800" dirty="0">
              <a:latin typeface="Cambria" panose="02040503050406030204" pitchFamily="18" charset="0"/>
              <a:ea typeface="Calibri" panose="020F0502020204030204" pitchFamily="34" charset="0"/>
              <a:cs typeface="Arial" panose="020B0604020202020204" pitchFamily="34" charset="0"/>
            </a:rPr>
            <a:t>What is the magnitude of the oil price risk premium? </a:t>
          </a:r>
          <a:endParaRPr lang="en-US" sz="1800" dirty="0"/>
        </a:p>
      </dgm:t>
    </dgm:pt>
    <dgm:pt modelId="{1706E7AC-2042-405B-8C91-A945519B225B}" type="parTrans" cxnId="{781901FD-CBA6-4D83-9621-466D5F98810D}">
      <dgm:prSet/>
      <dgm:spPr/>
      <dgm:t>
        <a:bodyPr/>
        <a:lstStyle/>
        <a:p>
          <a:endParaRPr lang="en-US" sz="2800"/>
        </a:p>
      </dgm:t>
    </dgm:pt>
    <dgm:pt modelId="{027F39ED-0875-4451-B597-EB7C63D58512}" type="sibTrans" cxnId="{781901FD-CBA6-4D83-9621-466D5F98810D}">
      <dgm:prSet/>
      <dgm:spPr/>
      <dgm:t>
        <a:bodyPr/>
        <a:lstStyle/>
        <a:p>
          <a:endParaRPr lang="en-US" sz="2800"/>
        </a:p>
      </dgm:t>
    </dgm:pt>
    <dgm:pt modelId="{BAEE44D3-426C-4237-9977-86FFD56DB628}">
      <dgm:prSet phldrT="[Text]" custT="1"/>
      <dgm:spPr/>
      <dgm:t>
        <a:bodyPr/>
        <a:lstStyle/>
        <a:p>
          <a:pPr>
            <a:buClr>
              <a:schemeClr val="accent2"/>
            </a:buClr>
            <a:buFont typeface="Wingdings" panose="05000000000000000000" pitchFamily="2" charset="2"/>
            <a:buChar char="§"/>
          </a:pPr>
          <a:r>
            <a:rPr lang="en-US" sz="1800" dirty="0">
              <a:latin typeface="Cambria" panose="02040503050406030204" pitchFamily="18" charset="0"/>
              <a:ea typeface="Calibri" panose="020F0502020204030204" pitchFamily="34" charset="0"/>
              <a:cs typeface="Arial" panose="020B0604020202020204" pitchFamily="34" charset="0"/>
            </a:rPr>
            <a:t>Do the effects vary significantly? </a:t>
          </a:r>
          <a:endParaRPr lang="en-US" sz="1800" dirty="0"/>
        </a:p>
      </dgm:t>
    </dgm:pt>
    <dgm:pt modelId="{DB9C510C-E565-481C-8028-0FC3026E6953}" type="parTrans" cxnId="{226836A2-7636-457B-8D3F-9AA89D5AACD1}">
      <dgm:prSet/>
      <dgm:spPr/>
      <dgm:t>
        <a:bodyPr/>
        <a:lstStyle/>
        <a:p>
          <a:endParaRPr lang="en-US" sz="2800"/>
        </a:p>
      </dgm:t>
    </dgm:pt>
    <dgm:pt modelId="{21C87090-2752-4C9C-88C6-868139A65B8D}" type="sibTrans" cxnId="{226836A2-7636-457B-8D3F-9AA89D5AACD1}">
      <dgm:prSet/>
      <dgm:spPr/>
      <dgm:t>
        <a:bodyPr/>
        <a:lstStyle/>
        <a:p>
          <a:endParaRPr lang="en-US" sz="2800"/>
        </a:p>
      </dgm:t>
    </dgm:pt>
    <dgm:pt modelId="{93FFF5C0-3C20-4A31-9B88-2227725FE9C7}" type="pres">
      <dgm:prSet presAssocID="{F7969E95-8A41-45A7-A46C-53BE883D9AD9}" presName="linear" presStyleCnt="0">
        <dgm:presLayoutVars>
          <dgm:dir/>
          <dgm:animLvl val="lvl"/>
          <dgm:resizeHandles val="exact"/>
        </dgm:presLayoutVars>
      </dgm:prSet>
      <dgm:spPr/>
    </dgm:pt>
    <dgm:pt modelId="{85B81628-B2C6-435D-BAFF-16631CE3E333}" type="pres">
      <dgm:prSet presAssocID="{600D661F-D017-498C-9E49-C0B8D61B41D2}" presName="parentLin" presStyleCnt="0"/>
      <dgm:spPr/>
    </dgm:pt>
    <dgm:pt modelId="{328A37B6-B058-4C71-AAB4-D3DFA02D4927}" type="pres">
      <dgm:prSet presAssocID="{600D661F-D017-498C-9E49-C0B8D61B41D2}" presName="parentLeftMargin" presStyleLbl="node1" presStyleIdx="0" presStyleCnt="3"/>
      <dgm:spPr/>
    </dgm:pt>
    <dgm:pt modelId="{7D9DA708-BD77-4906-902E-765B455CB3BE}" type="pres">
      <dgm:prSet presAssocID="{600D661F-D017-498C-9E49-C0B8D61B41D2}" presName="parentText" presStyleLbl="node1" presStyleIdx="0" presStyleCnt="3" custScaleX="133886">
        <dgm:presLayoutVars>
          <dgm:chMax val="0"/>
          <dgm:bulletEnabled val="1"/>
        </dgm:presLayoutVars>
      </dgm:prSet>
      <dgm:spPr/>
    </dgm:pt>
    <dgm:pt modelId="{F83F7FAB-86AC-4FA7-BE30-0D0455578FE0}" type="pres">
      <dgm:prSet presAssocID="{600D661F-D017-498C-9E49-C0B8D61B41D2}" presName="negativeSpace" presStyleCnt="0"/>
      <dgm:spPr/>
    </dgm:pt>
    <dgm:pt modelId="{27C55B06-4A97-48E2-892F-300AD118505E}" type="pres">
      <dgm:prSet presAssocID="{600D661F-D017-498C-9E49-C0B8D61B41D2}" presName="childText" presStyleLbl="conFgAcc1" presStyleIdx="0" presStyleCnt="3">
        <dgm:presLayoutVars>
          <dgm:bulletEnabled val="1"/>
        </dgm:presLayoutVars>
      </dgm:prSet>
      <dgm:spPr/>
    </dgm:pt>
    <dgm:pt modelId="{50C20F48-566D-495D-B0DD-4FED6318CB40}" type="pres">
      <dgm:prSet presAssocID="{A39728E8-F62B-4E1E-B14F-7959708F5E90}" presName="spaceBetweenRectangles" presStyleCnt="0"/>
      <dgm:spPr/>
    </dgm:pt>
    <dgm:pt modelId="{8EF144CD-BACA-4C5D-8FBB-F29D9462D4A5}" type="pres">
      <dgm:prSet presAssocID="{D36451D2-2D1B-46CD-A01E-B8A2A2B32EFA}" presName="parentLin" presStyleCnt="0"/>
      <dgm:spPr/>
    </dgm:pt>
    <dgm:pt modelId="{9EF4EC8B-AA57-4820-BDC1-6AE51ECAF6AD}" type="pres">
      <dgm:prSet presAssocID="{D36451D2-2D1B-46CD-A01E-B8A2A2B32EFA}" presName="parentLeftMargin" presStyleLbl="node1" presStyleIdx="0" presStyleCnt="3"/>
      <dgm:spPr/>
    </dgm:pt>
    <dgm:pt modelId="{708A4EE3-91D8-4EF3-96AF-1F03768FC20A}" type="pres">
      <dgm:prSet presAssocID="{D36451D2-2D1B-46CD-A01E-B8A2A2B32EFA}" presName="parentText" presStyleLbl="node1" presStyleIdx="1" presStyleCnt="3" custScaleX="134064">
        <dgm:presLayoutVars>
          <dgm:chMax val="0"/>
          <dgm:bulletEnabled val="1"/>
        </dgm:presLayoutVars>
      </dgm:prSet>
      <dgm:spPr/>
    </dgm:pt>
    <dgm:pt modelId="{832D397B-925D-435F-95CA-5123D2F5B81A}" type="pres">
      <dgm:prSet presAssocID="{D36451D2-2D1B-46CD-A01E-B8A2A2B32EFA}" presName="negativeSpace" presStyleCnt="0"/>
      <dgm:spPr/>
    </dgm:pt>
    <dgm:pt modelId="{7BB31117-F62B-4829-951A-144D9D1D2919}" type="pres">
      <dgm:prSet presAssocID="{D36451D2-2D1B-46CD-A01E-B8A2A2B32EFA}" presName="childText" presStyleLbl="conFgAcc1" presStyleIdx="1" presStyleCnt="3">
        <dgm:presLayoutVars>
          <dgm:bulletEnabled val="1"/>
        </dgm:presLayoutVars>
      </dgm:prSet>
      <dgm:spPr/>
    </dgm:pt>
    <dgm:pt modelId="{B5515F38-F666-462D-980B-61E445E324CF}" type="pres">
      <dgm:prSet presAssocID="{027F39ED-0875-4451-B597-EB7C63D58512}" presName="spaceBetweenRectangles" presStyleCnt="0"/>
      <dgm:spPr/>
    </dgm:pt>
    <dgm:pt modelId="{8B2B5AA2-FD0C-46BA-861B-CE12A3EEFF0E}" type="pres">
      <dgm:prSet presAssocID="{BAEE44D3-426C-4237-9977-86FFD56DB628}" presName="parentLin" presStyleCnt="0"/>
      <dgm:spPr/>
    </dgm:pt>
    <dgm:pt modelId="{FBBDB46D-D080-48A5-9EFE-2B92B9199491}" type="pres">
      <dgm:prSet presAssocID="{BAEE44D3-426C-4237-9977-86FFD56DB628}" presName="parentLeftMargin" presStyleLbl="node1" presStyleIdx="1" presStyleCnt="3"/>
      <dgm:spPr/>
    </dgm:pt>
    <dgm:pt modelId="{55321774-AEAE-48C0-AD7A-5AF1CAD2A7E4}" type="pres">
      <dgm:prSet presAssocID="{BAEE44D3-426C-4237-9977-86FFD56DB628}" presName="parentText" presStyleLbl="node1" presStyleIdx="2" presStyleCnt="3" custScaleX="134155">
        <dgm:presLayoutVars>
          <dgm:chMax val="0"/>
          <dgm:bulletEnabled val="1"/>
        </dgm:presLayoutVars>
      </dgm:prSet>
      <dgm:spPr/>
    </dgm:pt>
    <dgm:pt modelId="{F14333D1-0D7B-448F-A7BF-137F4303615D}" type="pres">
      <dgm:prSet presAssocID="{BAEE44D3-426C-4237-9977-86FFD56DB628}" presName="negativeSpace" presStyleCnt="0"/>
      <dgm:spPr/>
    </dgm:pt>
    <dgm:pt modelId="{80DC8CE5-9436-4DDB-BE78-A6992A969238}" type="pres">
      <dgm:prSet presAssocID="{BAEE44D3-426C-4237-9977-86FFD56DB628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B3847210-7859-46C6-8FE8-0D74A8C4AC12}" srcId="{F7969E95-8A41-45A7-A46C-53BE883D9AD9}" destId="{600D661F-D017-498C-9E49-C0B8D61B41D2}" srcOrd="0" destOrd="0" parTransId="{27B3C793-6C4F-4B4F-B4FC-AF02C471DDE6}" sibTransId="{A39728E8-F62B-4E1E-B14F-7959708F5E90}"/>
    <dgm:cxn modelId="{F3B62E15-1458-4C33-B7F7-3AF69EDC8731}" type="presOf" srcId="{BAEE44D3-426C-4237-9977-86FFD56DB628}" destId="{FBBDB46D-D080-48A5-9EFE-2B92B9199491}" srcOrd="0" destOrd="0" presId="urn:microsoft.com/office/officeart/2005/8/layout/list1"/>
    <dgm:cxn modelId="{25B31464-249B-4914-82B3-AE6E6556A79C}" type="presOf" srcId="{600D661F-D017-498C-9E49-C0B8D61B41D2}" destId="{7D9DA708-BD77-4906-902E-765B455CB3BE}" srcOrd="1" destOrd="0" presId="urn:microsoft.com/office/officeart/2005/8/layout/list1"/>
    <dgm:cxn modelId="{64DAC54E-086E-426E-93CC-D6B839937876}" type="presOf" srcId="{D36451D2-2D1B-46CD-A01E-B8A2A2B32EFA}" destId="{708A4EE3-91D8-4EF3-96AF-1F03768FC20A}" srcOrd="1" destOrd="0" presId="urn:microsoft.com/office/officeart/2005/8/layout/list1"/>
    <dgm:cxn modelId="{AAD0ED7C-243B-43D3-ABDD-1FC23AA62603}" type="presOf" srcId="{D36451D2-2D1B-46CD-A01E-B8A2A2B32EFA}" destId="{9EF4EC8B-AA57-4820-BDC1-6AE51ECAF6AD}" srcOrd="0" destOrd="0" presId="urn:microsoft.com/office/officeart/2005/8/layout/list1"/>
    <dgm:cxn modelId="{226836A2-7636-457B-8D3F-9AA89D5AACD1}" srcId="{F7969E95-8A41-45A7-A46C-53BE883D9AD9}" destId="{BAEE44D3-426C-4237-9977-86FFD56DB628}" srcOrd="2" destOrd="0" parTransId="{DB9C510C-E565-481C-8028-0FC3026E6953}" sibTransId="{21C87090-2752-4C9C-88C6-868139A65B8D}"/>
    <dgm:cxn modelId="{92DB9CB3-F080-4697-A705-BB35E6E29EAD}" type="presOf" srcId="{BAEE44D3-426C-4237-9977-86FFD56DB628}" destId="{55321774-AEAE-48C0-AD7A-5AF1CAD2A7E4}" srcOrd="1" destOrd="0" presId="urn:microsoft.com/office/officeart/2005/8/layout/list1"/>
    <dgm:cxn modelId="{32D043B4-3D4D-439C-88B8-347010CA48BC}" type="presOf" srcId="{600D661F-D017-498C-9E49-C0B8D61B41D2}" destId="{328A37B6-B058-4C71-AAB4-D3DFA02D4927}" srcOrd="0" destOrd="0" presId="urn:microsoft.com/office/officeart/2005/8/layout/list1"/>
    <dgm:cxn modelId="{CD5DA2F0-58FB-41A3-8046-26512F5F1CFE}" type="presOf" srcId="{F7969E95-8A41-45A7-A46C-53BE883D9AD9}" destId="{93FFF5C0-3C20-4A31-9B88-2227725FE9C7}" srcOrd="0" destOrd="0" presId="urn:microsoft.com/office/officeart/2005/8/layout/list1"/>
    <dgm:cxn modelId="{781901FD-CBA6-4D83-9621-466D5F98810D}" srcId="{F7969E95-8A41-45A7-A46C-53BE883D9AD9}" destId="{D36451D2-2D1B-46CD-A01E-B8A2A2B32EFA}" srcOrd="1" destOrd="0" parTransId="{1706E7AC-2042-405B-8C91-A945519B225B}" sibTransId="{027F39ED-0875-4451-B597-EB7C63D58512}"/>
    <dgm:cxn modelId="{0EA10556-0A9A-456A-8740-9815AE5B58DF}" type="presParOf" srcId="{93FFF5C0-3C20-4A31-9B88-2227725FE9C7}" destId="{85B81628-B2C6-435D-BAFF-16631CE3E333}" srcOrd="0" destOrd="0" presId="urn:microsoft.com/office/officeart/2005/8/layout/list1"/>
    <dgm:cxn modelId="{1DFA24FB-5FA7-4CD1-B412-81A0C877C960}" type="presParOf" srcId="{85B81628-B2C6-435D-BAFF-16631CE3E333}" destId="{328A37B6-B058-4C71-AAB4-D3DFA02D4927}" srcOrd="0" destOrd="0" presId="urn:microsoft.com/office/officeart/2005/8/layout/list1"/>
    <dgm:cxn modelId="{02690DFD-B248-4E54-B272-4A842E3AD46A}" type="presParOf" srcId="{85B81628-B2C6-435D-BAFF-16631CE3E333}" destId="{7D9DA708-BD77-4906-902E-765B455CB3BE}" srcOrd="1" destOrd="0" presId="urn:microsoft.com/office/officeart/2005/8/layout/list1"/>
    <dgm:cxn modelId="{040455D7-C297-4943-A295-861A286723D6}" type="presParOf" srcId="{93FFF5C0-3C20-4A31-9B88-2227725FE9C7}" destId="{F83F7FAB-86AC-4FA7-BE30-0D0455578FE0}" srcOrd="1" destOrd="0" presId="urn:microsoft.com/office/officeart/2005/8/layout/list1"/>
    <dgm:cxn modelId="{321C3057-A59C-4410-B24F-891449B937FB}" type="presParOf" srcId="{93FFF5C0-3C20-4A31-9B88-2227725FE9C7}" destId="{27C55B06-4A97-48E2-892F-300AD118505E}" srcOrd="2" destOrd="0" presId="urn:microsoft.com/office/officeart/2005/8/layout/list1"/>
    <dgm:cxn modelId="{78C83CE2-9955-4DE4-A5EC-FD4531DF17B4}" type="presParOf" srcId="{93FFF5C0-3C20-4A31-9B88-2227725FE9C7}" destId="{50C20F48-566D-495D-B0DD-4FED6318CB40}" srcOrd="3" destOrd="0" presId="urn:microsoft.com/office/officeart/2005/8/layout/list1"/>
    <dgm:cxn modelId="{E8A57A9D-5200-4A7F-B938-82B802F3B345}" type="presParOf" srcId="{93FFF5C0-3C20-4A31-9B88-2227725FE9C7}" destId="{8EF144CD-BACA-4C5D-8FBB-F29D9462D4A5}" srcOrd="4" destOrd="0" presId="urn:microsoft.com/office/officeart/2005/8/layout/list1"/>
    <dgm:cxn modelId="{E22F5366-DBB5-4797-9A3F-26FE5A51828C}" type="presParOf" srcId="{8EF144CD-BACA-4C5D-8FBB-F29D9462D4A5}" destId="{9EF4EC8B-AA57-4820-BDC1-6AE51ECAF6AD}" srcOrd="0" destOrd="0" presId="urn:microsoft.com/office/officeart/2005/8/layout/list1"/>
    <dgm:cxn modelId="{087EF263-D6AA-4F3D-94A2-02CA444F16AC}" type="presParOf" srcId="{8EF144CD-BACA-4C5D-8FBB-F29D9462D4A5}" destId="{708A4EE3-91D8-4EF3-96AF-1F03768FC20A}" srcOrd="1" destOrd="0" presId="urn:microsoft.com/office/officeart/2005/8/layout/list1"/>
    <dgm:cxn modelId="{0FA175AE-CCBA-4402-B1F6-823EF3E4F812}" type="presParOf" srcId="{93FFF5C0-3C20-4A31-9B88-2227725FE9C7}" destId="{832D397B-925D-435F-95CA-5123D2F5B81A}" srcOrd="5" destOrd="0" presId="urn:microsoft.com/office/officeart/2005/8/layout/list1"/>
    <dgm:cxn modelId="{AAB7A2FC-A46C-4EF3-9C87-F18EAD4CC888}" type="presParOf" srcId="{93FFF5C0-3C20-4A31-9B88-2227725FE9C7}" destId="{7BB31117-F62B-4829-951A-144D9D1D2919}" srcOrd="6" destOrd="0" presId="urn:microsoft.com/office/officeart/2005/8/layout/list1"/>
    <dgm:cxn modelId="{0B7AE98A-F58D-482A-A317-A957AA7E9AFD}" type="presParOf" srcId="{93FFF5C0-3C20-4A31-9B88-2227725FE9C7}" destId="{B5515F38-F666-462D-980B-61E445E324CF}" srcOrd="7" destOrd="0" presId="urn:microsoft.com/office/officeart/2005/8/layout/list1"/>
    <dgm:cxn modelId="{02AFEBE3-5D18-425A-AA97-9C2D51262604}" type="presParOf" srcId="{93FFF5C0-3C20-4A31-9B88-2227725FE9C7}" destId="{8B2B5AA2-FD0C-46BA-861B-CE12A3EEFF0E}" srcOrd="8" destOrd="0" presId="urn:microsoft.com/office/officeart/2005/8/layout/list1"/>
    <dgm:cxn modelId="{0B891CCE-B342-4BEC-B005-AA1BDEC8D7B8}" type="presParOf" srcId="{8B2B5AA2-FD0C-46BA-861B-CE12A3EEFF0E}" destId="{FBBDB46D-D080-48A5-9EFE-2B92B9199491}" srcOrd="0" destOrd="0" presId="urn:microsoft.com/office/officeart/2005/8/layout/list1"/>
    <dgm:cxn modelId="{05A90DEC-5F87-4072-A285-03D300CAFCFC}" type="presParOf" srcId="{8B2B5AA2-FD0C-46BA-861B-CE12A3EEFF0E}" destId="{55321774-AEAE-48C0-AD7A-5AF1CAD2A7E4}" srcOrd="1" destOrd="0" presId="urn:microsoft.com/office/officeart/2005/8/layout/list1"/>
    <dgm:cxn modelId="{FCAD01E4-4EE3-4743-9C0C-245E54B5037A}" type="presParOf" srcId="{93FFF5C0-3C20-4A31-9B88-2227725FE9C7}" destId="{F14333D1-0D7B-448F-A7BF-137F4303615D}" srcOrd="9" destOrd="0" presId="urn:microsoft.com/office/officeart/2005/8/layout/list1"/>
    <dgm:cxn modelId="{0CA437C6-E9E0-4E7D-BD04-EA6457940995}" type="presParOf" srcId="{93FFF5C0-3C20-4A31-9B88-2227725FE9C7}" destId="{80DC8CE5-9436-4DDB-BE78-A6992A969238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7969E95-8A41-45A7-A46C-53BE883D9AD9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00D661F-D017-498C-9E49-C0B8D61B41D2}">
      <dgm:prSet phldrT="[Text]" custT="1"/>
      <dgm:spPr/>
      <dgm:t>
        <a:bodyPr/>
        <a:lstStyle/>
        <a:p>
          <a:pPr>
            <a:buClr>
              <a:schemeClr val="accent2"/>
            </a:buClr>
            <a:buFont typeface="Wingdings" panose="05000000000000000000" pitchFamily="2" charset="2"/>
            <a:buChar char="§"/>
          </a:pPr>
          <a:r>
            <a:rPr lang="en-US" sz="1800" dirty="0">
              <a:latin typeface="Cambria" panose="02040503050406030204" pitchFamily="18" charset="0"/>
              <a:cs typeface="Arial" panose="020B0604020202020204" pitchFamily="34" charset="0"/>
            </a:rPr>
            <a:t>Significant disparities in country-specific discount rates, emphasizing the importance of selecting accurate discount rates</a:t>
          </a:r>
          <a:endParaRPr lang="en-US" sz="1800" dirty="0"/>
        </a:p>
      </dgm:t>
    </dgm:pt>
    <dgm:pt modelId="{27B3C793-6C4F-4B4F-B4FC-AF02C471DDE6}" type="parTrans" cxnId="{B3847210-7859-46C6-8FE8-0D74A8C4AC12}">
      <dgm:prSet/>
      <dgm:spPr/>
      <dgm:t>
        <a:bodyPr/>
        <a:lstStyle/>
        <a:p>
          <a:endParaRPr lang="en-US" sz="2800"/>
        </a:p>
      </dgm:t>
    </dgm:pt>
    <dgm:pt modelId="{A39728E8-F62B-4E1E-B14F-7959708F5E90}" type="sibTrans" cxnId="{B3847210-7859-46C6-8FE8-0D74A8C4AC12}">
      <dgm:prSet/>
      <dgm:spPr/>
      <dgm:t>
        <a:bodyPr/>
        <a:lstStyle/>
        <a:p>
          <a:endParaRPr lang="en-US" sz="2800"/>
        </a:p>
      </dgm:t>
    </dgm:pt>
    <dgm:pt modelId="{D36451D2-2D1B-46CD-A01E-B8A2A2B32EFA}">
      <dgm:prSet phldrT="[Text]" custT="1"/>
      <dgm:spPr/>
      <dgm:t>
        <a:bodyPr/>
        <a:lstStyle/>
        <a:p>
          <a:pPr>
            <a:buClr>
              <a:schemeClr val="accent2"/>
            </a:buClr>
            <a:buFont typeface="Wingdings" panose="05000000000000000000" pitchFamily="2" charset="2"/>
            <a:buChar char="§"/>
          </a:pPr>
          <a:r>
            <a:rPr lang="en-US" sz="1800" dirty="0">
              <a:latin typeface="Cambria" panose="02040503050406030204" pitchFamily="18" charset="0"/>
              <a:ea typeface="Calibri" panose="020F0502020204030204" pitchFamily="34" charset="0"/>
              <a:cs typeface="Arial" panose="020B0604020202020204" pitchFamily="34" charset="0"/>
            </a:rPr>
            <a:t>High risk premium for (pooled) GCC panel (2.8%)</a:t>
          </a:r>
          <a:endParaRPr lang="en-US" sz="1800" dirty="0"/>
        </a:p>
      </dgm:t>
    </dgm:pt>
    <dgm:pt modelId="{1706E7AC-2042-405B-8C91-A945519B225B}" type="parTrans" cxnId="{781901FD-CBA6-4D83-9621-466D5F98810D}">
      <dgm:prSet/>
      <dgm:spPr/>
      <dgm:t>
        <a:bodyPr/>
        <a:lstStyle/>
        <a:p>
          <a:endParaRPr lang="en-US" sz="2800"/>
        </a:p>
      </dgm:t>
    </dgm:pt>
    <dgm:pt modelId="{027F39ED-0875-4451-B597-EB7C63D58512}" type="sibTrans" cxnId="{781901FD-CBA6-4D83-9621-466D5F98810D}">
      <dgm:prSet/>
      <dgm:spPr/>
      <dgm:t>
        <a:bodyPr/>
        <a:lstStyle/>
        <a:p>
          <a:endParaRPr lang="en-US" sz="2800"/>
        </a:p>
      </dgm:t>
    </dgm:pt>
    <dgm:pt modelId="{93FFF5C0-3C20-4A31-9B88-2227725FE9C7}" type="pres">
      <dgm:prSet presAssocID="{F7969E95-8A41-45A7-A46C-53BE883D9AD9}" presName="linear" presStyleCnt="0">
        <dgm:presLayoutVars>
          <dgm:dir/>
          <dgm:animLvl val="lvl"/>
          <dgm:resizeHandles val="exact"/>
        </dgm:presLayoutVars>
      </dgm:prSet>
      <dgm:spPr/>
    </dgm:pt>
    <dgm:pt modelId="{85B81628-B2C6-435D-BAFF-16631CE3E333}" type="pres">
      <dgm:prSet presAssocID="{600D661F-D017-498C-9E49-C0B8D61B41D2}" presName="parentLin" presStyleCnt="0"/>
      <dgm:spPr/>
    </dgm:pt>
    <dgm:pt modelId="{328A37B6-B058-4C71-AAB4-D3DFA02D4927}" type="pres">
      <dgm:prSet presAssocID="{600D661F-D017-498C-9E49-C0B8D61B41D2}" presName="parentLeftMargin" presStyleLbl="node1" presStyleIdx="0" presStyleCnt="2"/>
      <dgm:spPr/>
    </dgm:pt>
    <dgm:pt modelId="{7D9DA708-BD77-4906-902E-765B455CB3BE}" type="pres">
      <dgm:prSet presAssocID="{600D661F-D017-498C-9E49-C0B8D61B41D2}" presName="parentText" presStyleLbl="node1" presStyleIdx="0" presStyleCnt="2" custScaleX="133886">
        <dgm:presLayoutVars>
          <dgm:chMax val="0"/>
          <dgm:bulletEnabled val="1"/>
        </dgm:presLayoutVars>
      </dgm:prSet>
      <dgm:spPr/>
    </dgm:pt>
    <dgm:pt modelId="{F83F7FAB-86AC-4FA7-BE30-0D0455578FE0}" type="pres">
      <dgm:prSet presAssocID="{600D661F-D017-498C-9E49-C0B8D61B41D2}" presName="negativeSpace" presStyleCnt="0"/>
      <dgm:spPr/>
    </dgm:pt>
    <dgm:pt modelId="{27C55B06-4A97-48E2-892F-300AD118505E}" type="pres">
      <dgm:prSet presAssocID="{600D661F-D017-498C-9E49-C0B8D61B41D2}" presName="childText" presStyleLbl="conFgAcc1" presStyleIdx="0" presStyleCnt="2">
        <dgm:presLayoutVars>
          <dgm:bulletEnabled val="1"/>
        </dgm:presLayoutVars>
      </dgm:prSet>
      <dgm:spPr/>
    </dgm:pt>
    <dgm:pt modelId="{50C20F48-566D-495D-B0DD-4FED6318CB40}" type="pres">
      <dgm:prSet presAssocID="{A39728E8-F62B-4E1E-B14F-7959708F5E90}" presName="spaceBetweenRectangles" presStyleCnt="0"/>
      <dgm:spPr/>
    </dgm:pt>
    <dgm:pt modelId="{8EF144CD-BACA-4C5D-8FBB-F29D9462D4A5}" type="pres">
      <dgm:prSet presAssocID="{D36451D2-2D1B-46CD-A01E-B8A2A2B32EFA}" presName="parentLin" presStyleCnt="0"/>
      <dgm:spPr/>
    </dgm:pt>
    <dgm:pt modelId="{9EF4EC8B-AA57-4820-BDC1-6AE51ECAF6AD}" type="pres">
      <dgm:prSet presAssocID="{D36451D2-2D1B-46CD-A01E-B8A2A2B32EFA}" presName="parentLeftMargin" presStyleLbl="node1" presStyleIdx="0" presStyleCnt="2"/>
      <dgm:spPr/>
    </dgm:pt>
    <dgm:pt modelId="{708A4EE3-91D8-4EF3-96AF-1F03768FC20A}" type="pres">
      <dgm:prSet presAssocID="{D36451D2-2D1B-46CD-A01E-B8A2A2B32EFA}" presName="parentText" presStyleLbl="node1" presStyleIdx="1" presStyleCnt="2" custScaleX="134064">
        <dgm:presLayoutVars>
          <dgm:chMax val="0"/>
          <dgm:bulletEnabled val="1"/>
        </dgm:presLayoutVars>
      </dgm:prSet>
      <dgm:spPr/>
    </dgm:pt>
    <dgm:pt modelId="{832D397B-925D-435F-95CA-5123D2F5B81A}" type="pres">
      <dgm:prSet presAssocID="{D36451D2-2D1B-46CD-A01E-B8A2A2B32EFA}" presName="negativeSpace" presStyleCnt="0"/>
      <dgm:spPr/>
    </dgm:pt>
    <dgm:pt modelId="{7BB31117-F62B-4829-951A-144D9D1D2919}" type="pres">
      <dgm:prSet presAssocID="{D36451D2-2D1B-46CD-A01E-B8A2A2B32EFA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B3847210-7859-46C6-8FE8-0D74A8C4AC12}" srcId="{F7969E95-8A41-45A7-A46C-53BE883D9AD9}" destId="{600D661F-D017-498C-9E49-C0B8D61B41D2}" srcOrd="0" destOrd="0" parTransId="{27B3C793-6C4F-4B4F-B4FC-AF02C471DDE6}" sibTransId="{A39728E8-F62B-4E1E-B14F-7959708F5E90}"/>
    <dgm:cxn modelId="{25B31464-249B-4914-82B3-AE6E6556A79C}" type="presOf" srcId="{600D661F-D017-498C-9E49-C0B8D61B41D2}" destId="{7D9DA708-BD77-4906-902E-765B455CB3BE}" srcOrd="1" destOrd="0" presId="urn:microsoft.com/office/officeart/2005/8/layout/list1"/>
    <dgm:cxn modelId="{64DAC54E-086E-426E-93CC-D6B839937876}" type="presOf" srcId="{D36451D2-2D1B-46CD-A01E-B8A2A2B32EFA}" destId="{708A4EE3-91D8-4EF3-96AF-1F03768FC20A}" srcOrd="1" destOrd="0" presId="urn:microsoft.com/office/officeart/2005/8/layout/list1"/>
    <dgm:cxn modelId="{AAD0ED7C-243B-43D3-ABDD-1FC23AA62603}" type="presOf" srcId="{D36451D2-2D1B-46CD-A01E-B8A2A2B32EFA}" destId="{9EF4EC8B-AA57-4820-BDC1-6AE51ECAF6AD}" srcOrd="0" destOrd="0" presId="urn:microsoft.com/office/officeart/2005/8/layout/list1"/>
    <dgm:cxn modelId="{32D043B4-3D4D-439C-88B8-347010CA48BC}" type="presOf" srcId="{600D661F-D017-498C-9E49-C0B8D61B41D2}" destId="{328A37B6-B058-4C71-AAB4-D3DFA02D4927}" srcOrd="0" destOrd="0" presId="urn:microsoft.com/office/officeart/2005/8/layout/list1"/>
    <dgm:cxn modelId="{CD5DA2F0-58FB-41A3-8046-26512F5F1CFE}" type="presOf" srcId="{F7969E95-8A41-45A7-A46C-53BE883D9AD9}" destId="{93FFF5C0-3C20-4A31-9B88-2227725FE9C7}" srcOrd="0" destOrd="0" presId="urn:microsoft.com/office/officeart/2005/8/layout/list1"/>
    <dgm:cxn modelId="{781901FD-CBA6-4D83-9621-466D5F98810D}" srcId="{F7969E95-8A41-45A7-A46C-53BE883D9AD9}" destId="{D36451D2-2D1B-46CD-A01E-B8A2A2B32EFA}" srcOrd="1" destOrd="0" parTransId="{1706E7AC-2042-405B-8C91-A945519B225B}" sibTransId="{027F39ED-0875-4451-B597-EB7C63D58512}"/>
    <dgm:cxn modelId="{0EA10556-0A9A-456A-8740-9815AE5B58DF}" type="presParOf" srcId="{93FFF5C0-3C20-4A31-9B88-2227725FE9C7}" destId="{85B81628-B2C6-435D-BAFF-16631CE3E333}" srcOrd="0" destOrd="0" presId="urn:microsoft.com/office/officeart/2005/8/layout/list1"/>
    <dgm:cxn modelId="{1DFA24FB-5FA7-4CD1-B412-81A0C877C960}" type="presParOf" srcId="{85B81628-B2C6-435D-BAFF-16631CE3E333}" destId="{328A37B6-B058-4C71-AAB4-D3DFA02D4927}" srcOrd="0" destOrd="0" presId="urn:microsoft.com/office/officeart/2005/8/layout/list1"/>
    <dgm:cxn modelId="{02690DFD-B248-4E54-B272-4A842E3AD46A}" type="presParOf" srcId="{85B81628-B2C6-435D-BAFF-16631CE3E333}" destId="{7D9DA708-BD77-4906-902E-765B455CB3BE}" srcOrd="1" destOrd="0" presId="urn:microsoft.com/office/officeart/2005/8/layout/list1"/>
    <dgm:cxn modelId="{040455D7-C297-4943-A295-861A286723D6}" type="presParOf" srcId="{93FFF5C0-3C20-4A31-9B88-2227725FE9C7}" destId="{F83F7FAB-86AC-4FA7-BE30-0D0455578FE0}" srcOrd="1" destOrd="0" presId="urn:microsoft.com/office/officeart/2005/8/layout/list1"/>
    <dgm:cxn modelId="{321C3057-A59C-4410-B24F-891449B937FB}" type="presParOf" srcId="{93FFF5C0-3C20-4A31-9B88-2227725FE9C7}" destId="{27C55B06-4A97-48E2-892F-300AD118505E}" srcOrd="2" destOrd="0" presId="urn:microsoft.com/office/officeart/2005/8/layout/list1"/>
    <dgm:cxn modelId="{78C83CE2-9955-4DE4-A5EC-FD4531DF17B4}" type="presParOf" srcId="{93FFF5C0-3C20-4A31-9B88-2227725FE9C7}" destId="{50C20F48-566D-495D-B0DD-4FED6318CB40}" srcOrd="3" destOrd="0" presId="urn:microsoft.com/office/officeart/2005/8/layout/list1"/>
    <dgm:cxn modelId="{E8A57A9D-5200-4A7F-B938-82B802F3B345}" type="presParOf" srcId="{93FFF5C0-3C20-4A31-9B88-2227725FE9C7}" destId="{8EF144CD-BACA-4C5D-8FBB-F29D9462D4A5}" srcOrd="4" destOrd="0" presId="urn:microsoft.com/office/officeart/2005/8/layout/list1"/>
    <dgm:cxn modelId="{E22F5366-DBB5-4797-9A3F-26FE5A51828C}" type="presParOf" srcId="{8EF144CD-BACA-4C5D-8FBB-F29D9462D4A5}" destId="{9EF4EC8B-AA57-4820-BDC1-6AE51ECAF6AD}" srcOrd="0" destOrd="0" presId="urn:microsoft.com/office/officeart/2005/8/layout/list1"/>
    <dgm:cxn modelId="{087EF263-D6AA-4F3D-94A2-02CA444F16AC}" type="presParOf" srcId="{8EF144CD-BACA-4C5D-8FBB-F29D9462D4A5}" destId="{708A4EE3-91D8-4EF3-96AF-1F03768FC20A}" srcOrd="1" destOrd="0" presId="urn:microsoft.com/office/officeart/2005/8/layout/list1"/>
    <dgm:cxn modelId="{0FA175AE-CCBA-4402-B1F6-823EF3E4F812}" type="presParOf" srcId="{93FFF5C0-3C20-4A31-9B88-2227725FE9C7}" destId="{832D397B-925D-435F-95CA-5123D2F5B81A}" srcOrd="5" destOrd="0" presId="urn:microsoft.com/office/officeart/2005/8/layout/list1"/>
    <dgm:cxn modelId="{AAB7A2FC-A46C-4EF3-9C87-F18EAD4CC888}" type="presParOf" srcId="{93FFF5C0-3C20-4A31-9B88-2227725FE9C7}" destId="{7BB31117-F62B-4829-951A-144D9D1D2919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7C55B06-4A97-48E2-892F-300AD118505E}">
      <dsp:nvSpPr>
        <dsp:cNvPr id="0" name=""/>
        <dsp:cNvSpPr/>
      </dsp:nvSpPr>
      <dsp:spPr>
        <a:xfrm>
          <a:off x="0" y="192704"/>
          <a:ext cx="9039076" cy="327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D9DA708-BD77-4906-902E-765B455CB3BE}">
      <dsp:nvSpPr>
        <dsp:cNvPr id="0" name=""/>
        <dsp:cNvSpPr/>
      </dsp:nvSpPr>
      <dsp:spPr>
        <a:xfrm>
          <a:off x="451512" y="824"/>
          <a:ext cx="8463167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9159" tIns="0" rIns="239159" bIns="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schemeClr val="accent2"/>
            </a:buClr>
            <a:buFont typeface="Wingdings" panose="05000000000000000000" pitchFamily="2" charset="2"/>
            <a:buNone/>
          </a:pPr>
          <a:r>
            <a:rPr lang="en-US" sz="1800" kern="1200" dirty="0">
              <a:latin typeface="Cambria" panose="02040503050406030204" pitchFamily="18" charset="0"/>
              <a:ea typeface="Calibri" panose="020F0502020204030204" pitchFamily="34" charset="0"/>
              <a:cs typeface="Arial" panose="020B0604020202020204" pitchFamily="34" charset="0"/>
            </a:rPr>
            <a:t>Which effect holds greater significance?</a:t>
          </a:r>
          <a:endParaRPr lang="en-US" sz="1800" kern="1200" dirty="0"/>
        </a:p>
      </dsp:txBody>
      <dsp:txXfrm>
        <a:off x="470246" y="19558"/>
        <a:ext cx="8425699" cy="346292"/>
      </dsp:txXfrm>
    </dsp:sp>
    <dsp:sp modelId="{7BB31117-F62B-4829-951A-144D9D1D2919}">
      <dsp:nvSpPr>
        <dsp:cNvPr id="0" name=""/>
        <dsp:cNvSpPr/>
      </dsp:nvSpPr>
      <dsp:spPr>
        <a:xfrm>
          <a:off x="0" y="782384"/>
          <a:ext cx="9039076" cy="327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08A4EE3-91D8-4EF3-96AF-1F03768FC20A}">
      <dsp:nvSpPr>
        <dsp:cNvPr id="0" name=""/>
        <dsp:cNvSpPr/>
      </dsp:nvSpPr>
      <dsp:spPr>
        <a:xfrm>
          <a:off x="451512" y="590505"/>
          <a:ext cx="8474418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9159" tIns="0" rIns="239159" bIns="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schemeClr val="accent2"/>
            </a:buClr>
            <a:buFont typeface="Wingdings" panose="05000000000000000000" pitchFamily="2" charset="2"/>
            <a:buNone/>
          </a:pPr>
          <a:r>
            <a:rPr lang="en-US" sz="1800" kern="1200" dirty="0">
              <a:latin typeface="Cambria" panose="02040503050406030204" pitchFamily="18" charset="0"/>
              <a:ea typeface="Calibri" panose="020F0502020204030204" pitchFamily="34" charset="0"/>
              <a:cs typeface="Arial" panose="020B0604020202020204" pitchFamily="34" charset="0"/>
            </a:rPr>
            <a:t>What is the magnitude of the oil price risk premium? </a:t>
          </a:r>
          <a:endParaRPr lang="en-US" sz="1800" kern="1200" dirty="0"/>
        </a:p>
      </dsp:txBody>
      <dsp:txXfrm>
        <a:off x="470246" y="609239"/>
        <a:ext cx="8436950" cy="346292"/>
      </dsp:txXfrm>
    </dsp:sp>
    <dsp:sp modelId="{80DC8CE5-9436-4DDB-BE78-A6992A969238}">
      <dsp:nvSpPr>
        <dsp:cNvPr id="0" name=""/>
        <dsp:cNvSpPr/>
      </dsp:nvSpPr>
      <dsp:spPr>
        <a:xfrm>
          <a:off x="0" y="1372064"/>
          <a:ext cx="9039076" cy="327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5321774-AEAE-48C0-AD7A-5AF1CAD2A7E4}">
      <dsp:nvSpPr>
        <dsp:cNvPr id="0" name=""/>
        <dsp:cNvSpPr/>
      </dsp:nvSpPr>
      <dsp:spPr>
        <a:xfrm>
          <a:off x="451512" y="1180185"/>
          <a:ext cx="8480171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9159" tIns="0" rIns="239159" bIns="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schemeClr val="accent2"/>
            </a:buClr>
            <a:buFont typeface="Wingdings" panose="05000000000000000000" pitchFamily="2" charset="2"/>
            <a:buNone/>
          </a:pPr>
          <a:r>
            <a:rPr lang="en-US" sz="1800" kern="1200" dirty="0">
              <a:latin typeface="Cambria" panose="02040503050406030204" pitchFamily="18" charset="0"/>
              <a:ea typeface="Calibri" panose="020F0502020204030204" pitchFamily="34" charset="0"/>
              <a:cs typeface="Arial" panose="020B0604020202020204" pitchFamily="34" charset="0"/>
            </a:rPr>
            <a:t>Do the effects vary significantly? </a:t>
          </a:r>
          <a:endParaRPr lang="en-US" sz="1800" kern="1200" dirty="0"/>
        </a:p>
      </dsp:txBody>
      <dsp:txXfrm>
        <a:off x="470246" y="1198919"/>
        <a:ext cx="8442703" cy="34629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7C55B06-4A97-48E2-892F-300AD118505E}">
      <dsp:nvSpPr>
        <dsp:cNvPr id="0" name=""/>
        <dsp:cNvSpPr/>
      </dsp:nvSpPr>
      <dsp:spPr>
        <a:xfrm>
          <a:off x="0" y="626316"/>
          <a:ext cx="5776761" cy="1033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D9DA708-BD77-4906-902E-765B455CB3BE}">
      <dsp:nvSpPr>
        <dsp:cNvPr id="0" name=""/>
        <dsp:cNvSpPr/>
      </dsp:nvSpPr>
      <dsp:spPr>
        <a:xfrm>
          <a:off x="288838" y="21155"/>
          <a:ext cx="5413991" cy="12103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843" tIns="0" rIns="152843" bIns="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schemeClr val="accent2"/>
            </a:buClr>
            <a:buFont typeface="Wingdings" panose="05000000000000000000" pitchFamily="2" charset="2"/>
            <a:buNone/>
          </a:pPr>
          <a:r>
            <a:rPr lang="en-US" sz="1800" kern="1200" dirty="0">
              <a:latin typeface="Cambria" panose="02040503050406030204" pitchFamily="18" charset="0"/>
              <a:cs typeface="Arial" panose="020B0604020202020204" pitchFamily="34" charset="0"/>
            </a:rPr>
            <a:t>Significant disparities in country-specific discount rates, emphasizing the importance of selecting accurate discount rates</a:t>
          </a:r>
          <a:endParaRPr lang="en-US" sz="1800" kern="1200" dirty="0"/>
        </a:p>
      </dsp:txBody>
      <dsp:txXfrm>
        <a:off x="347921" y="80238"/>
        <a:ext cx="5295825" cy="1092154"/>
      </dsp:txXfrm>
    </dsp:sp>
    <dsp:sp modelId="{7BB31117-F62B-4829-951A-144D9D1D2919}">
      <dsp:nvSpPr>
        <dsp:cNvPr id="0" name=""/>
        <dsp:cNvSpPr/>
      </dsp:nvSpPr>
      <dsp:spPr>
        <a:xfrm>
          <a:off x="0" y="2486076"/>
          <a:ext cx="5776761" cy="1033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08A4EE3-91D8-4EF3-96AF-1F03768FC20A}">
      <dsp:nvSpPr>
        <dsp:cNvPr id="0" name=""/>
        <dsp:cNvSpPr/>
      </dsp:nvSpPr>
      <dsp:spPr>
        <a:xfrm>
          <a:off x="288838" y="1880915"/>
          <a:ext cx="5421189" cy="12103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843" tIns="0" rIns="152843" bIns="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schemeClr val="accent2"/>
            </a:buClr>
            <a:buFont typeface="Wingdings" panose="05000000000000000000" pitchFamily="2" charset="2"/>
            <a:buNone/>
          </a:pPr>
          <a:r>
            <a:rPr lang="en-US" sz="1800" kern="1200" dirty="0">
              <a:latin typeface="Cambria" panose="02040503050406030204" pitchFamily="18" charset="0"/>
              <a:ea typeface="Calibri" panose="020F0502020204030204" pitchFamily="34" charset="0"/>
              <a:cs typeface="Arial" panose="020B0604020202020204" pitchFamily="34" charset="0"/>
            </a:rPr>
            <a:t>High risk premium for (pooled) GCC panel (2.8%)</a:t>
          </a:r>
          <a:endParaRPr lang="en-US" sz="1800" kern="1200" dirty="0"/>
        </a:p>
      </dsp:txBody>
      <dsp:txXfrm>
        <a:off x="347921" y="1939998"/>
        <a:ext cx="5303023" cy="109215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DBA8D2C-EB58-4129-7665-29B846E651F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CD9DC3E-E2E3-EF46-F90C-267E098BE12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D03E170-4486-4E1E-A412-15DD007DDEB4}" type="datetimeFigureOut">
              <a:rPr lang="en-US" smtClean="0"/>
              <a:t>12/15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A633D11-279F-E414-FBA2-07E09AF7EA3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6ABF4C5-1351-4D82-D3BD-9D9008432C4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A26B32-9A0F-434F-8DCD-0C370D9A59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359634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6CB0857-D562-4A70-B1E0-7254C594D7D5}" type="datetimeFigureOut">
              <a:rPr lang="en-US" smtClean="0"/>
              <a:t>12/15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B94A8B-0269-4C22-A01B-E1F5AB7C1C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516847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15 December 2023</a:t>
            </a:fld>
            <a:endParaRPr lang="en-US"/>
          </a:p>
        </p:txBody>
      </p:sp>
      <p:sp>
        <p:nvSpPr>
          <p:cNvPr id="51" name="Slide Image Placeholder 50">
            <a:extLst>
              <a:ext uri="{FF2B5EF4-FFF2-40B4-BE49-F238E27FC236}">
                <a16:creationId xmlns:a16="http://schemas.microsoft.com/office/drawing/2014/main" id="{DCE3710F-2356-44F5-A47E-3DFCE8CD483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17550" y="558800"/>
            <a:ext cx="5575300" cy="3136900"/>
          </a:xfrm>
        </p:spPr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CB4BD2-D4F8-BCC8-83FB-C5DA7E24BAC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94A8B-0269-4C22-A01B-E1F5AB7C1CF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078326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94A8B-0269-4C22-A01B-E1F5AB7C1CF4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937546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94A8B-0269-4C22-A01B-E1F5AB7C1CF4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239811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94A8B-0269-4C22-A01B-E1F5AB7C1CF4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20921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15 December 2023</a:t>
            </a:fld>
            <a:endParaRPr lang="en-US"/>
          </a:p>
        </p:txBody>
      </p:sp>
      <p:sp>
        <p:nvSpPr>
          <p:cNvPr id="51" name="Slide Image Placeholder 50">
            <a:extLst>
              <a:ext uri="{FF2B5EF4-FFF2-40B4-BE49-F238E27FC236}">
                <a16:creationId xmlns:a16="http://schemas.microsoft.com/office/drawing/2014/main" id="{DCE3710F-2356-44F5-A47E-3DFCE8CD483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17550" y="558800"/>
            <a:ext cx="5575300" cy="3136900"/>
          </a:xfrm>
        </p:spPr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B9E527-7605-CD06-ABEC-33A6F9279FC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94A8B-0269-4C22-A01B-E1F5AB7C1CF4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94166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94A8B-0269-4C22-A01B-E1F5AB7C1CF4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17779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94A8B-0269-4C22-A01B-E1F5AB7C1CF4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59057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94A8B-0269-4C22-A01B-E1F5AB7C1CF4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43123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94A8B-0269-4C22-A01B-E1F5AB7C1CF4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07117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94A8B-0269-4C22-A01B-E1F5AB7C1CF4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9969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94A8B-0269-4C22-A01B-E1F5AB7C1CF4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6594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94A8B-0269-4C22-A01B-E1F5AB7C1CF4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29942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94A8B-0269-4C22-A01B-E1F5AB7C1CF4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47885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microsoft.com/office/2007/relationships/hdphoto" Target="../media/hdphoto1.wdp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12" Type="http://schemas.openxmlformats.org/officeDocument/2006/relationships/image" Target="../media/image5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11" Type="http://schemas.openxmlformats.org/officeDocument/2006/relationships/image" Target="../media/image4.jpeg"/><Relationship Id="rId5" Type="http://schemas.openxmlformats.org/officeDocument/2006/relationships/tags" Target="../tags/tag25.xml"/><Relationship Id="rId10" Type="http://schemas.openxmlformats.org/officeDocument/2006/relationships/image" Target="../media/image3.emf"/><Relationship Id="rId4" Type="http://schemas.openxmlformats.org/officeDocument/2006/relationships/tags" Target="../tags/tag24.xml"/><Relationship Id="rId9" Type="http://schemas.openxmlformats.org/officeDocument/2006/relationships/oleObject" Target="../embeddings/oleObject2.bin"/><Relationship Id="rId14" Type="http://schemas.openxmlformats.org/officeDocument/2006/relationships/oleObject" Target="../embeddings/oleObject3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5.xml"/><Relationship Id="rId3" Type="http://schemas.openxmlformats.org/officeDocument/2006/relationships/tags" Target="../tags/tag90.xml"/><Relationship Id="rId7" Type="http://schemas.openxmlformats.org/officeDocument/2006/relationships/tags" Target="../tags/tag94.xml"/><Relationship Id="rId12" Type="http://schemas.openxmlformats.org/officeDocument/2006/relationships/image" Target="../media/image2.emf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tags" Target="../tags/tag93.xml"/><Relationship Id="rId11" Type="http://schemas.openxmlformats.org/officeDocument/2006/relationships/image" Target="../media/image7.emf"/><Relationship Id="rId5" Type="http://schemas.openxmlformats.org/officeDocument/2006/relationships/tags" Target="../tags/tag92.xml"/><Relationship Id="rId10" Type="http://schemas.openxmlformats.org/officeDocument/2006/relationships/oleObject" Target="../embeddings/oleObject13.bin"/><Relationship Id="rId4" Type="http://schemas.openxmlformats.org/officeDocument/2006/relationships/tags" Target="../tags/tag91.xml"/><Relationship Id="rId9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12" Type="http://schemas.openxmlformats.org/officeDocument/2006/relationships/image" Target="../media/image2.emf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11" Type="http://schemas.openxmlformats.org/officeDocument/2006/relationships/image" Target="../media/image1.emf"/><Relationship Id="rId5" Type="http://schemas.openxmlformats.org/officeDocument/2006/relationships/tags" Target="../tags/tag100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99.xml"/><Relationship Id="rId9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0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tags" Target="../tags/tag109.xml"/><Relationship Id="rId5" Type="http://schemas.openxmlformats.org/officeDocument/2006/relationships/tags" Target="../tags/tag108.xml"/><Relationship Id="rId10" Type="http://schemas.openxmlformats.org/officeDocument/2006/relationships/image" Target="../media/image2.emf"/><Relationship Id="rId4" Type="http://schemas.openxmlformats.org/officeDocument/2006/relationships/tags" Target="../tags/tag107.xml"/><Relationship Id="rId9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7" Type="http://schemas.openxmlformats.org/officeDocument/2006/relationships/image" Target="../media/image3.emf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18.xml"/><Relationship Id="rId7" Type="http://schemas.openxmlformats.org/officeDocument/2006/relationships/tags" Target="../tags/tag122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tags" Target="../tags/tag121.xml"/><Relationship Id="rId5" Type="http://schemas.openxmlformats.org/officeDocument/2006/relationships/tags" Target="../tags/tag120.xml"/><Relationship Id="rId10" Type="http://schemas.openxmlformats.org/officeDocument/2006/relationships/image" Target="../media/image1.emf"/><Relationship Id="rId4" Type="http://schemas.openxmlformats.org/officeDocument/2006/relationships/tags" Target="../tags/tag119.xml"/><Relationship Id="rId9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25.xml"/><Relationship Id="rId7" Type="http://schemas.openxmlformats.org/officeDocument/2006/relationships/oleObject" Target="../embeddings/oleObject3.bin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slideMaster" Target="../slideMasters/slideMaster1.xml"/><Relationship Id="rId11" Type="http://schemas.microsoft.com/office/2007/relationships/hdphoto" Target="../media/hdphoto1.wdp"/><Relationship Id="rId5" Type="http://schemas.openxmlformats.org/officeDocument/2006/relationships/tags" Target="../tags/tag127.xml"/><Relationship Id="rId10" Type="http://schemas.openxmlformats.org/officeDocument/2006/relationships/image" Target="../media/image5.png"/><Relationship Id="rId4" Type="http://schemas.openxmlformats.org/officeDocument/2006/relationships/tags" Target="../tags/tag126.xml"/><Relationship Id="rId9" Type="http://schemas.openxmlformats.org/officeDocument/2006/relationships/image" Target="../media/image4.jpeg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151.xml"/><Relationship Id="rId7" Type="http://schemas.openxmlformats.org/officeDocument/2006/relationships/image" Target="../media/image3.emf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2.xml"/><Relationship Id="rId10" Type="http://schemas.microsoft.com/office/2007/relationships/hdphoto" Target="../media/hdphoto1.wdp"/><Relationship Id="rId4" Type="http://schemas.openxmlformats.org/officeDocument/2006/relationships/tags" Target="../tags/tag152.xml"/><Relationship Id="rId9" Type="http://schemas.openxmlformats.org/officeDocument/2006/relationships/image" Target="../media/image5.png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55.xml"/><Relationship Id="rId7" Type="http://schemas.openxmlformats.org/officeDocument/2006/relationships/tags" Target="../tags/tag159.xml"/><Relationship Id="rId2" Type="http://schemas.openxmlformats.org/officeDocument/2006/relationships/tags" Target="../tags/tag154.xml"/><Relationship Id="rId1" Type="http://schemas.openxmlformats.org/officeDocument/2006/relationships/tags" Target="../tags/tag153.xml"/><Relationship Id="rId6" Type="http://schemas.openxmlformats.org/officeDocument/2006/relationships/tags" Target="../tags/tag158.xml"/><Relationship Id="rId5" Type="http://schemas.openxmlformats.org/officeDocument/2006/relationships/tags" Target="../tags/tag157.xml"/><Relationship Id="rId10" Type="http://schemas.openxmlformats.org/officeDocument/2006/relationships/image" Target="../media/image1.emf"/><Relationship Id="rId4" Type="http://schemas.openxmlformats.org/officeDocument/2006/relationships/tags" Target="../tags/tag156.xml"/><Relationship Id="rId9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oleObject" Target="../embeddings/oleObject4.bin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11" Type="http://schemas.openxmlformats.org/officeDocument/2006/relationships/tags" Target="../tags/tag38.xml"/><Relationship Id="rId5" Type="http://schemas.openxmlformats.org/officeDocument/2006/relationships/tags" Target="../tags/tag32.xml"/><Relationship Id="rId15" Type="http://schemas.openxmlformats.org/officeDocument/2006/relationships/oleObject" Target="../embeddings/oleObject5.bin"/><Relationship Id="rId10" Type="http://schemas.openxmlformats.org/officeDocument/2006/relationships/tags" Target="../tags/tag37.xml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.bin"/><Relationship Id="rId3" Type="http://schemas.openxmlformats.org/officeDocument/2006/relationships/tags" Target="../tags/tag16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tags" Target="../tags/tag165.xml"/><Relationship Id="rId5" Type="http://schemas.openxmlformats.org/officeDocument/2006/relationships/tags" Target="../tags/tag164.xml"/><Relationship Id="rId4" Type="http://schemas.openxmlformats.org/officeDocument/2006/relationships/tags" Target="../tags/tag163.xml"/><Relationship Id="rId9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tags" Target="../tags/tag168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6" Type="http://schemas.openxmlformats.org/officeDocument/2006/relationships/tags" Target="../tags/tag171.xml"/><Relationship Id="rId5" Type="http://schemas.openxmlformats.org/officeDocument/2006/relationships/tags" Target="../tags/tag170.xml"/><Relationship Id="rId4" Type="http://schemas.openxmlformats.org/officeDocument/2006/relationships/tags" Target="../tags/tag169.xml"/><Relationship Id="rId9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.bin"/><Relationship Id="rId3" Type="http://schemas.openxmlformats.org/officeDocument/2006/relationships/tags" Target="../tags/tag174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73.xml"/><Relationship Id="rId1" Type="http://schemas.openxmlformats.org/officeDocument/2006/relationships/tags" Target="../tags/tag172.xml"/><Relationship Id="rId6" Type="http://schemas.openxmlformats.org/officeDocument/2006/relationships/tags" Target="../tags/tag177.xml"/><Relationship Id="rId11" Type="http://schemas.microsoft.com/office/2007/relationships/hdphoto" Target="../media/hdphoto2.wdp"/><Relationship Id="rId5" Type="http://schemas.openxmlformats.org/officeDocument/2006/relationships/tags" Target="../tags/tag176.xml"/><Relationship Id="rId10" Type="http://schemas.openxmlformats.org/officeDocument/2006/relationships/image" Target="../media/image8.png"/><Relationship Id="rId4" Type="http://schemas.openxmlformats.org/officeDocument/2006/relationships/tags" Target="../tags/tag175.xml"/><Relationship Id="rId9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80.xml"/><Relationship Id="rId7" Type="http://schemas.openxmlformats.org/officeDocument/2006/relationships/tags" Target="../tags/tag184.xml"/><Relationship Id="rId2" Type="http://schemas.openxmlformats.org/officeDocument/2006/relationships/tags" Target="../tags/tag179.xml"/><Relationship Id="rId1" Type="http://schemas.openxmlformats.org/officeDocument/2006/relationships/tags" Target="../tags/tag178.xml"/><Relationship Id="rId6" Type="http://schemas.openxmlformats.org/officeDocument/2006/relationships/tags" Target="../tags/tag183.xml"/><Relationship Id="rId5" Type="http://schemas.openxmlformats.org/officeDocument/2006/relationships/tags" Target="../tags/tag182.xml"/><Relationship Id="rId10" Type="http://schemas.openxmlformats.org/officeDocument/2006/relationships/image" Target="../media/image3.emf"/><Relationship Id="rId4" Type="http://schemas.openxmlformats.org/officeDocument/2006/relationships/tags" Target="../tags/tag181.xml"/><Relationship Id="rId9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192.xml"/><Relationship Id="rId3" Type="http://schemas.openxmlformats.org/officeDocument/2006/relationships/tags" Target="../tags/tag187.xml"/><Relationship Id="rId7" Type="http://schemas.openxmlformats.org/officeDocument/2006/relationships/tags" Target="../tags/tag191.xml"/><Relationship Id="rId12" Type="http://schemas.openxmlformats.org/officeDocument/2006/relationships/image" Target="../media/image2.emf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6" Type="http://schemas.openxmlformats.org/officeDocument/2006/relationships/tags" Target="../tags/tag190.xml"/><Relationship Id="rId11" Type="http://schemas.openxmlformats.org/officeDocument/2006/relationships/image" Target="../media/image1.emf"/><Relationship Id="rId5" Type="http://schemas.openxmlformats.org/officeDocument/2006/relationships/tags" Target="../tags/tag189.xml"/><Relationship Id="rId10" Type="http://schemas.openxmlformats.org/officeDocument/2006/relationships/oleObject" Target="../embeddings/oleObject25.bin"/><Relationship Id="rId4" Type="http://schemas.openxmlformats.org/officeDocument/2006/relationships/tags" Target="../tags/tag188.xml"/><Relationship Id="rId9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12" Type="http://schemas.openxmlformats.org/officeDocument/2006/relationships/image" Target="../media/image2.emf"/><Relationship Id="rId2" Type="http://schemas.openxmlformats.org/officeDocument/2006/relationships/tags" Target="../tags/tag194.xml"/><Relationship Id="rId1" Type="http://schemas.openxmlformats.org/officeDocument/2006/relationships/tags" Target="../tags/tag193.xml"/><Relationship Id="rId6" Type="http://schemas.openxmlformats.org/officeDocument/2006/relationships/tags" Target="../tags/tag198.xml"/><Relationship Id="rId11" Type="http://schemas.openxmlformats.org/officeDocument/2006/relationships/image" Target="../media/image1.emf"/><Relationship Id="rId5" Type="http://schemas.openxmlformats.org/officeDocument/2006/relationships/tags" Target="../tags/tag197.xml"/><Relationship Id="rId10" Type="http://schemas.openxmlformats.org/officeDocument/2006/relationships/oleObject" Target="../embeddings/oleObject26.bin"/><Relationship Id="rId4" Type="http://schemas.openxmlformats.org/officeDocument/2006/relationships/tags" Target="../tags/tag196.xml"/><Relationship Id="rId9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08.xml"/><Relationship Id="rId3" Type="http://schemas.openxmlformats.org/officeDocument/2006/relationships/tags" Target="../tags/tag203.xml"/><Relationship Id="rId7" Type="http://schemas.openxmlformats.org/officeDocument/2006/relationships/tags" Target="../tags/tag207.xml"/><Relationship Id="rId12" Type="http://schemas.openxmlformats.org/officeDocument/2006/relationships/image" Target="../media/image2.emf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6" Type="http://schemas.openxmlformats.org/officeDocument/2006/relationships/tags" Target="../tags/tag206.xml"/><Relationship Id="rId11" Type="http://schemas.openxmlformats.org/officeDocument/2006/relationships/image" Target="../media/image3.emf"/><Relationship Id="rId5" Type="http://schemas.openxmlformats.org/officeDocument/2006/relationships/tags" Target="../tags/tag205.xml"/><Relationship Id="rId10" Type="http://schemas.openxmlformats.org/officeDocument/2006/relationships/oleObject" Target="../embeddings/oleObject27.bin"/><Relationship Id="rId4" Type="http://schemas.openxmlformats.org/officeDocument/2006/relationships/tags" Target="../tags/tag204.xml"/><Relationship Id="rId9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16.xml"/><Relationship Id="rId3" Type="http://schemas.openxmlformats.org/officeDocument/2006/relationships/tags" Target="../tags/tag211.xml"/><Relationship Id="rId7" Type="http://schemas.openxmlformats.org/officeDocument/2006/relationships/tags" Target="../tags/tag215.xml"/><Relationship Id="rId12" Type="http://schemas.openxmlformats.org/officeDocument/2006/relationships/image" Target="../media/image2.emf"/><Relationship Id="rId2" Type="http://schemas.openxmlformats.org/officeDocument/2006/relationships/tags" Target="../tags/tag210.xml"/><Relationship Id="rId1" Type="http://schemas.openxmlformats.org/officeDocument/2006/relationships/tags" Target="../tags/tag209.xml"/><Relationship Id="rId6" Type="http://schemas.openxmlformats.org/officeDocument/2006/relationships/tags" Target="../tags/tag214.xml"/><Relationship Id="rId11" Type="http://schemas.openxmlformats.org/officeDocument/2006/relationships/image" Target="../media/image1.emf"/><Relationship Id="rId5" Type="http://schemas.openxmlformats.org/officeDocument/2006/relationships/tags" Target="../tags/tag213.xml"/><Relationship Id="rId10" Type="http://schemas.openxmlformats.org/officeDocument/2006/relationships/oleObject" Target="../embeddings/oleObject28.bin"/><Relationship Id="rId4" Type="http://schemas.openxmlformats.org/officeDocument/2006/relationships/tags" Target="../tags/tag212.xml"/><Relationship Id="rId9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24.xml"/><Relationship Id="rId3" Type="http://schemas.openxmlformats.org/officeDocument/2006/relationships/tags" Target="../tags/tag219.xml"/><Relationship Id="rId7" Type="http://schemas.openxmlformats.org/officeDocument/2006/relationships/tags" Target="../tags/tag223.xml"/><Relationship Id="rId12" Type="http://schemas.openxmlformats.org/officeDocument/2006/relationships/image" Target="../media/image2.emf"/><Relationship Id="rId2" Type="http://schemas.openxmlformats.org/officeDocument/2006/relationships/tags" Target="../tags/tag218.xml"/><Relationship Id="rId1" Type="http://schemas.openxmlformats.org/officeDocument/2006/relationships/tags" Target="../tags/tag217.xml"/><Relationship Id="rId6" Type="http://schemas.openxmlformats.org/officeDocument/2006/relationships/tags" Target="../tags/tag222.xml"/><Relationship Id="rId11" Type="http://schemas.openxmlformats.org/officeDocument/2006/relationships/image" Target="../media/image3.emf"/><Relationship Id="rId5" Type="http://schemas.openxmlformats.org/officeDocument/2006/relationships/tags" Target="../tags/tag221.xml"/><Relationship Id="rId10" Type="http://schemas.openxmlformats.org/officeDocument/2006/relationships/oleObject" Target="../embeddings/oleObject29.bin"/><Relationship Id="rId4" Type="http://schemas.openxmlformats.org/officeDocument/2006/relationships/tags" Target="../tags/tag220.xml"/><Relationship Id="rId9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232.xml"/><Relationship Id="rId3" Type="http://schemas.openxmlformats.org/officeDocument/2006/relationships/tags" Target="../tags/tag227.xml"/><Relationship Id="rId7" Type="http://schemas.openxmlformats.org/officeDocument/2006/relationships/tags" Target="../tags/tag231.xml"/><Relationship Id="rId12" Type="http://schemas.openxmlformats.org/officeDocument/2006/relationships/image" Target="../media/image2.emf"/><Relationship Id="rId2" Type="http://schemas.openxmlformats.org/officeDocument/2006/relationships/tags" Target="../tags/tag226.xml"/><Relationship Id="rId1" Type="http://schemas.openxmlformats.org/officeDocument/2006/relationships/tags" Target="../tags/tag225.xml"/><Relationship Id="rId6" Type="http://schemas.openxmlformats.org/officeDocument/2006/relationships/tags" Target="../tags/tag230.xml"/><Relationship Id="rId11" Type="http://schemas.openxmlformats.org/officeDocument/2006/relationships/image" Target="../media/image3.emf"/><Relationship Id="rId5" Type="http://schemas.openxmlformats.org/officeDocument/2006/relationships/tags" Target="../tags/tag229.xml"/><Relationship Id="rId10" Type="http://schemas.openxmlformats.org/officeDocument/2006/relationships/oleObject" Target="../embeddings/oleObject30.bin"/><Relationship Id="rId4" Type="http://schemas.openxmlformats.org/officeDocument/2006/relationships/tags" Target="../tags/tag228.xml"/><Relationship Id="rId9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4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5" Type="http://schemas.openxmlformats.org/officeDocument/2006/relationships/tags" Target="../tags/tag43.xml"/><Relationship Id="rId4" Type="http://schemas.openxmlformats.org/officeDocument/2006/relationships/tags" Target="../tags/tag42.xml"/><Relationship Id="rId9" Type="http://schemas.openxmlformats.org/officeDocument/2006/relationships/image" Target="../media/image3.emf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240.xml"/><Relationship Id="rId3" Type="http://schemas.openxmlformats.org/officeDocument/2006/relationships/tags" Target="../tags/tag235.xml"/><Relationship Id="rId7" Type="http://schemas.openxmlformats.org/officeDocument/2006/relationships/tags" Target="../tags/tag239.xml"/><Relationship Id="rId12" Type="http://schemas.openxmlformats.org/officeDocument/2006/relationships/image" Target="../media/image2.emf"/><Relationship Id="rId2" Type="http://schemas.openxmlformats.org/officeDocument/2006/relationships/tags" Target="../tags/tag234.xml"/><Relationship Id="rId1" Type="http://schemas.openxmlformats.org/officeDocument/2006/relationships/tags" Target="../tags/tag233.xml"/><Relationship Id="rId6" Type="http://schemas.openxmlformats.org/officeDocument/2006/relationships/tags" Target="../tags/tag238.xml"/><Relationship Id="rId11" Type="http://schemas.openxmlformats.org/officeDocument/2006/relationships/image" Target="../media/image1.emf"/><Relationship Id="rId5" Type="http://schemas.openxmlformats.org/officeDocument/2006/relationships/tags" Target="../tags/tag237.xml"/><Relationship Id="rId10" Type="http://schemas.openxmlformats.org/officeDocument/2006/relationships/oleObject" Target="../embeddings/oleObject31.bin"/><Relationship Id="rId4" Type="http://schemas.openxmlformats.org/officeDocument/2006/relationships/tags" Target="../tags/tag236.xml"/><Relationship Id="rId9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248.xml"/><Relationship Id="rId3" Type="http://schemas.openxmlformats.org/officeDocument/2006/relationships/tags" Target="../tags/tag243.xml"/><Relationship Id="rId7" Type="http://schemas.openxmlformats.org/officeDocument/2006/relationships/tags" Target="../tags/tag247.xml"/><Relationship Id="rId12" Type="http://schemas.openxmlformats.org/officeDocument/2006/relationships/image" Target="../media/image2.emf"/><Relationship Id="rId2" Type="http://schemas.openxmlformats.org/officeDocument/2006/relationships/tags" Target="../tags/tag242.xml"/><Relationship Id="rId1" Type="http://schemas.openxmlformats.org/officeDocument/2006/relationships/tags" Target="../tags/tag241.xml"/><Relationship Id="rId6" Type="http://schemas.openxmlformats.org/officeDocument/2006/relationships/tags" Target="../tags/tag246.xml"/><Relationship Id="rId11" Type="http://schemas.openxmlformats.org/officeDocument/2006/relationships/image" Target="../media/image3.emf"/><Relationship Id="rId5" Type="http://schemas.openxmlformats.org/officeDocument/2006/relationships/tags" Target="../tags/tag245.xml"/><Relationship Id="rId10" Type="http://schemas.openxmlformats.org/officeDocument/2006/relationships/oleObject" Target="../embeddings/oleObject32.bin"/><Relationship Id="rId4" Type="http://schemas.openxmlformats.org/officeDocument/2006/relationships/tags" Target="../tags/tag244.xml"/><Relationship Id="rId9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3.bin"/><Relationship Id="rId3" Type="http://schemas.openxmlformats.org/officeDocument/2006/relationships/tags" Target="../tags/tag251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50.xml"/><Relationship Id="rId1" Type="http://schemas.openxmlformats.org/officeDocument/2006/relationships/tags" Target="../tags/tag249.xml"/><Relationship Id="rId6" Type="http://schemas.openxmlformats.org/officeDocument/2006/relationships/tags" Target="../tags/tag254.xml"/><Relationship Id="rId5" Type="http://schemas.openxmlformats.org/officeDocument/2006/relationships/tags" Target="../tags/tag253.xml"/><Relationship Id="rId10" Type="http://schemas.openxmlformats.org/officeDocument/2006/relationships/image" Target="../media/image2.emf"/><Relationship Id="rId4" Type="http://schemas.openxmlformats.org/officeDocument/2006/relationships/tags" Target="../tags/tag252.xml"/><Relationship Id="rId9" Type="http://schemas.openxmlformats.org/officeDocument/2006/relationships/image" Target="../media/image3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257.xml"/><Relationship Id="rId7" Type="http://schemas.openxmlformats.org/officeDocument/2006/relationships/image" Target="../media/image3.emf"/><Relationship Id="rId2" Type="http://schemas.openxmlformats.org/officeDocument/2006/relationships/tags" Target="../tags/tag256.xml"/><Relationship Id="rId1" Type="http://schemas.openxmlformats.org/officeDocument/2006/relationships/tags" Target="../tags/tag255.xml"/><Relationship Id="rId6" Type="http://schemas.openxmlformats.org/officeDocument/2006/relationships/oleObject" Target="../embeddings/oleObject3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58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0.xml"/><Relationship Id="rId1" Type="http://schemas.openxmlformats.org/officeDocument/2006/relationships/tags" Target="../tags/tag259.x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35.bin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63.xml"/><Relationship Id="rId7" Type="http://schemas.openxmlformats.org/officeDocument/2006/relationships/tags" Target="../tags/tag267.xml"/><Relationship Id="rId2" Type="http://schemas.openxmlformats.org/officeDocument/2006/relationships/tags" Target="../tags/tag262.xml"/><Relationship Id="rId1" Type="http://schemas.openxmlformats.org/officeDocument/2006/relationships/tags" Target="../tags/tag261.xml"/><Relationship Id="rId6" Type="http://schemas.openxmlformats.org/officeDocument/2006/relationships/tags" Target="../tags/tag266.xml"/><Relationship Id="rId5" Type="http://schemas.openxmlformats.org/officeDocument/2006/relationships/tags" Target="../tags/tag265.xml"/><Relationship Id="rId10" Type="http://schemas.openxmlformats.org/officeDocument/2006/relationships/image" Target="../media/image1.emf"/><Relationship Id="rId4" Type="http://schemas.openxmlformats.org/officeDocument/2006/relationships/tags" Target="../tags/tag264.xml"/><Relationship Id="rId9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70.xml"/><Relationship Id="rId7" Type="http://schemas.openxmlformats.org/officeDocument/2006/relationships/oleObject" Target="../embeddings/oleObject3.bin"/><Relationship Id="rId2" Type="http://schemas.openxmlformats.org/officeDocument/2006/relationships/tags" Target="../tags/tag269.xml"/><Relationship Id="rId1" Type="http://schemas.openxmlformats.org/officeDocument/2006/relationships/tags" Target="../tags/tag268.xml"/><Relationship Id="rId6" Type="http://schemas.openxmlformats.org/officeDocument/2006/relationships/slideMaster" Target="../slideMasters/slideMaster2.xml"/><Relationship Id="rId11" Type="http://schemas.microsoft.com/office/2007/relationships/hdphoto" Target="../media/hdphoto1.wdp"/><Relationship Id="rId5" Type="http://schemas.openxmlformats.org/officeDocument/2006/relationships/tags" Target="../tags/tag272.xml"/><Relationship Id="rId10" Type="http://schemas.openxmlformats.org/officeDocument/2006/relationships/image" Target="../media/image5.png"/><Relationship Id="rId4" Type="http://schemas.openxmlformats.org/officeDocument/2006/relationships/tags" Target="../tags/tag271.xml"/><Relationship Id="rId9" Type="http://schemas.openxmlformats.org/officeDocument/2006/relationships/image" Target="../media/image4.jpe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4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5" Type="http://schemas.openxmlformats.org/officeDocument/2006/relationships/tags" Target="../tags/tag49.xml"/><Relationship Id="rId4" Type="http://schemas.openxmlformats.org/officeDocument/2006/relationships/tags" Target="../tags/tag48.xml"/><Relationship Id="rId9" Type="http://schemas.openxmlformats.org/officeDocument/2006/relationships/image" Target="../media/image3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1.xml"/><Relationship Id="rId1" Type="http://schemas.openxmlformats.org/officeDocument/2006/relationships/tags" Target="../tags/tag290.xml"/><Relationship Id="rId6" Type="http://schemas.openxmlformats.org/officeDocument/2006/relationships/image" Target="../media/image6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8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92.xml"/><Relationship Id="rId4" Type="http://schemas.openxmlformats.org/officeDocument/2006/relationships/image" Target="../media/image1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93.xml"/><Relationship Id="rId4" Type="http://schemas.openxmlformats.org/officeDocument/2006/relationships/image" Target="../media/image11.emf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5.xml"/><Relationship Id="rId1" Type="http://schemas.openxmlformats.org/officeDocument/2006/relationships/tags" Target="../tags/tag294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41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7.xml"/><Relationship Id="rId1" Type="http://schemas.openxmlformats.org/officeDocument/2006/relationships/tags" Target="../tags/tag29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3.bin"/><Relationship Id="rId3" Type="http://schemas.openxmlformats.org/officeDocument/2006/relationships/tags" Target="../tags/tag300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99.xml"/><Relationship Id="rId1" Type="http://schemas.openxmlformats.org/officeDocument/2006/relationships/tags" Target="../tags/tag298.xml"/><Relationship Id="rId6" Type="http://schemas.openxmlformats.org/officeDocument/2006/relationships/tags" Target="../tags/tag303.xml"/><Relationship Id="rId5" Type="http://schemas.openxmlformats.org/officeDocument/2006/relationships/tags" Target="../tags/tag302.xml"/><Relationship Id="rId4" Type="http://schemas.openxmlformats.org/officeDocument/2006/relationships/tags" Target="../tags/tag301.xml"/><Relationship Id="rId9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4.bin"/><Relationship Id="rId3" Type="http://schemas.openxmlformats.org/officeDocument/2006/relationships/tags" Target="../tags/tag306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05.xml"/><Relationship Id="rId1" Type="http://schemas.openxmlformats.org/officeDocument/2006/relationships/tags" Target="../tags/tag304.xml"/><Relationship Id="rId6" Type="http://schemas.openxmlformats.org/officeDocument/2006/relationships/tags" Target="../tags/tag309.xml"/><Relationship Id="rId5" Type="http://schemas.openxmlformats.org/officeDocument/2006/relationships/tags" Target="../tags/tag308.xml"/><Relationship Id="rId4" Type="http://schemas.openxmlformats.org/officeDocument/2006/relationships/tags" Target="../tags/tag307.xml"/><Relationship Id="rId9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1.xml"/><Relationship Id="rId1" Type="http://schemas.openxmlformats.org/officeDocument/2006/relationships/tags" Target="../tags/tag310.xml"/><Relationship Id="rId6" Type="http://schemas.openxmlformats.org/officeDocument/2006/relationships/image" Target="../media/image2.emf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5.bin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14.xml"/><Relationship Id="rId7" Type="http://schemas.openxmlformats.org/officeDocument/2006/relationships/oleObject" Target="../embeddings/oleObject3.bin"/><Relationship Id="rId2" Type="http://schemas.openxmlformats.org/officeDocument/2006/relationships/tags" Target="../tags/tag313.xml"/><Relationship Id="rId1" Type="http://schemas.openxmlformats.org/officeDocument/2006/relationships/tags" Target="../tags/tag312.xml"/><Relationship Id="rId6" Type="http://schemas.openxmlformats.org/officeDocument/2006/relationships/slideMaster" Target="../slideMasters/slideMaster3.xml"/><Relationship Id="rId11" Type="http://schemas.microsoft.com/office/2007/relationships/hdphoto" Target="../media/hdphoto1.wdp"/><Relationship Id="rId5" Type="http://schemas.openxmlformats.org/officeDocument/2006/relationships/tags" Target="../tags/tag316.xml"/><Relationship Id="rId10" Type="http://schemas.openxmlformats.org/officeDocument/2006/relationships/image" Target="../media/image5.png"/><Relationship Id="rId4" Type="http://schemas.openxmlformats.org/officeDocument/2006/relationships/tags" Target="../tags/tag315.xml"/><Relationship Id="rId9" Type="http://schemas.openxmlformats.org/officeDocument/2006/relationships/image" Target="../media/image4.jpe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5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5" Type="http://schemas.openxmlformats.org/officeDocument/2006/relationships/tags" Target="../tags/tag55.xml"/><Relationship Id="rId10" Type="http://schemas.openxmlformats.org/officeDocument/2006/relationships/image" Target="../media/image6.png"/><Relationship Id="rId4" Type="http://schemas.openxmlformats.org/officeDocument/2006/relationships/tags" Target="../tags/tag54.xml"/><Relationship Id="rId9" Type="http://schemas.openxmlformats.org/officeDocument/2006/relationships/image" Target="../media/image3.emf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19.xml"/><Relationship Id="rId7" Type="http://schemas.openxmlformats.org/officeDocument/2006/relationships/tags" Target="../tags/tag323.xml"/><Relationship Id="rId2" Type="http://schemas.openxmlformats.org/officeDocument/2006/relationships/tags" Target="../tags/tag318.xml"/><Relationship Id="rId1" Type="http://schemas.openxmlformats.org/officeDocument/2006/relationships/tags" Target="../tags/tag317.xml"/><Relationship Id="rId6" Type="http://schemas.openxmlformats.org/officeDocument/2006/relationships/tags" Target="../tags/tag322.xml"/><Relationship Id="rId5" Type="http://schemas.openxmlformats.org/officeDocument/2006/relationships/tags" Target="../tags/tag321.xml"/><Relationship Id="rId10" Type="http://schemas.openxmlformats.org/officeDocument/2006/relationships/image" Target="../media/image1.emf"/><Relationship Id="rId4" Type="http://schemas.openxmlformats.org/officeDocument/2006/relationships/tags" Target="../tags/tag320.xml"/><Relationship Id="rId9" Type="http://schemas.openxmlformats.org/officeDocument/2006/relationships/oleObject" Target="../embeddings/oleObject5.bin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42.xml"/><Relationship Id="rId1" Type="http://schemas.openxmlformats.org/officeDocument/2006/relationships/tags" Target="../tags/tag341.xml"/><Relationship Id="rId6" Type="http://schemas.openxmlformats.org/officeDocument/2006/relationships/image" Target="../media/image6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7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43.xml"/><Relationship Id="rId4" Type="http://schemas.openxmlformats.org/officeDocument/2006/relationships/image" Target="../media/image1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44.xml"/><Relationship Id="rId4" Type="http://schemas.openxmlformats.org/officeDocument/2006/relationships/image" Target="../media/image11.emf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47.xml"/><Relationship Id="rId7" Type="http://schemas.openxmlformats.org/officeDocument/2006/relationships/oleObject" Target="../embeddings/oleObject3.bin"/><Relationship Id="rId2" Type="http://schemas.openxmlformats.org/officeDocument/2006/relationships/tags" Target="../tags/tag346.xml"/><Relationship Id="rId1" Type="http://schemas.openxmlformats.org/officeDocument/2006/relationships/tags" Target="../tags/tag345.xml"/><Relationship Id="rId6" Type="http://schemas.openxmlformats.org/officeDocument/2006/relationships/slideMaster" Target="../slideMasters/slideMaster4.xml"/><Relationship Id="rId11" Type="http://schemas.microsoft.com/office/2007/relationships/hdphoto" Target="../media/hdphoto1.wdp"/><Relationship Id="rId5" Type="http://schemas.openxmlformats.org/officeDocument/2006/relationships/tags" Target="../tags/tag349.xml"/><Relationship Id="rId10" Type="http://schemas.openxmlformats.org/officeDocument/2006/relationships/image" Target="../media/image5.png"/><Relationship Id="rId4" Type="http://schemas.openxmlformats.org/officeDocument/2006/relationships/tags" Target="../tags/tag348.xml"/><Relationship Id="rId9" Type="http://schemas.openxmlformats.org/officeDocument/2006/relationships/image" Target="../media/image4.jpeg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5" Type="http://schemas.openxmlformats.org/officeDocument/2006/relationships/tags" Target="../tags/tag61.xml"/><Relationship Id="rId10" Type="http://schemas.openxmlformats.org/officeDocument/2006/relationships/image" Target="../media/image3.emf"/><Relationship Id="rId4" Type="http://schemas.openxmlformats.org/officeDocument/2006/relationships/tags" Target="../tags/tag60.xml"/><Relationship Id="rId9" Type="http://schemas.openxmlformats.org/officeDocument/2006/relationships/oleObject" Target="../embeddings/oleObject9.bin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352.xml"/><Relationship Id="rId7" Type="http://schemas.openxmlformats.org/officeDocument/2006/relationships/tags" Target="../tags/tag356.xml"/><Relationship Id="rId2" Type="http://schemas.openxmlformats.org/officeDocument/2006/relationships/tags" Target="../tags/tag351.xml"/><Relationship Id="rId1" Type="http://schemas.openxmlformats.org/officeDocument/2006/relationships/tags" Target="../tags/tag350.xml"/><Relationship Id="rId6" Type="http://schemas.openxmlformats.org/officeDocument/2006/relationships/tags" Target="../tags/tag355.xml"/><Relationship Id="rId5" Type="http://schemas.openxmlformats.org/officeDocument/2006/relationships/tags" Target="../tags/tag354.xml"/><Relationship Id="rId10" Type="http://schemas.openxmlformats.org/officeDocument/2006/relationships/image" Target="../media/image1.emf"/><Relationship Id="rId4" Type="http://schemas.openxmlformats.org/officeDocument/2006/relationships/tags" Target="../tags/tag353.xml"/><Relationship Id="rId9" Type="http://schemas.openxmlformats.org/officeDocument/2006/relationships/oleObject" Target="../embeddings/oleObject5.bin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75.xml"/><Relationship Id="rId1" Type="http://schemas.openxmlformats.org/officeDocument/2006/relationships/tags" Target="../tags/tag374.xml"/><Relationship Id="rId6" Type="http://schemas.openxmlformats.org/officeDocument/2006/relationships/image" Target="../media/image6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1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76.xml"/><Relationship Id="rId4" Type="http://schemas.openxmlformats.org/officeDocument/2006/relationships/image" Target="../media/image1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77.xml"/><Relationship Id="rId4" Type="http://schemas.openxmlformats.org/officeDocument/2006/relationships/image" Target="../media/image11.emf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79.xml"/><Relationship Id="rId4" Type="http://schemas.openxmlformats.org/officeDocument/2006/relationships/image" Target="../media/image11.emf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82.xml"/><Relationship Id="rId7" Type="http://schemas.openxmlformats.org/officeDocument/2006/relationships/oleObject" Target="../embeddings/oleObject3.bin"/><Relationship Id="rId2" Type="http://schemas.openxmlformats.org/officeDocument/2006/relationships/tags" Target="../tags/tag381.xml"/><Relationship Id="rId1" Type="http://schemas.openxmlformats.org/officeDocument/2006/relationships/tags" Target="../tags/tag380.xml"/><Relationship Id="rId6" Type="http://schemas.openxmlformats.org/officeDocument/2006/relationships/slideMaster" Target="../slideMasters/slideMaster6.xml"/><Relationship Id="rId11" Type="http://schemas.microsoft.com/office/2007/relationships/hdphoto" Target="../media/hdphoto1.wdp"/><Relationship Id="rId5" Type="http://schemas.openxmlformats.org/officeDocument/2006/relationships/tags" Target="../tags/tag384.xml"/><Relationship Id="rId10" Type="http://schemas.openxmlformats.org/officeDocument/2006/relationships/image" Target="../media/image5.png"/><Relationship Id="rId4" Type="http://schemas.openxmlformats.org/officeDocument/2006/relationships/tags" Target="../tags/tag383.xml"/><Relationship Id="rId9" Type="http://schemas.openxmlformats.org/officeDocument/2006/relationships/image" Target="../media/image4.jpeg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71.xml"/><Relationship Id="rId3" Type="http://schemas.openxmlformats.org/officeDocument/2006/relationships/tags" Target="../tags/tag66.xml"/><Relationship Id="rId7" Type="http://schemas.openxmlformats.org/officeDocument/2006/relationships/tags" Target="../tags/tag70.xml"/><Relationship Id="rId12" Type="http://schemas.openxmlformats.org/officeDocument/2006/relationships/image" Target="../media/image2.emf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11" Type="http://schemas.openxmlformats.org/officeDocument/2006/relationships/image" Target="../media/image1.emf"/><Relationship Id="rId5" Type="http://schemas.openxmlformats.org/officeDocument/2006/relationships/tags" Target="../tags/tag68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67.xml"/><Relationship Id="rId9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387.xml"/><Relationship Id="rId7" Type="http://schemas.openxmlformats.org/officeDocument/2006/relationships/tags" Target="../tags/tag391.xml"/><Relationship Id="rId2" Type="http://schemas.openxmlformats.org/officeDocument/2006/relationships/tags" Target="../tags/tag386.xml"/><Relationship Id="rId1" Type="http://schemas.openxmlformats.org/officeDocument/2006/relationships/tags" Target="../tags/tag385.xml"/><Relationship Id="rId6" Type="http://schemas.openxmlformats.org/officeDocument/2006/relationships/tags" Target="../tags/tag390.xml"/><Relationship Id="rId5" Type="http://schemas.openxmlformats.org/officeDocument/2006/relationships/tags" Target="../tags/tag389.xml"/><Relationship Id="rId10" Type="http://schemas.openxmlformats.org/officeDocument/2006/relationships/image" Target="../media/image1.emf"/><Relationship Id="rId4" Type="http://schemas.openxmlformats.org/officeDocument/2006/relationships/tags" Target="../tags/tag388.xml"/><Relationship Id="rId9" Type="http://schemas.openxmlformats.org/officeDocument/2006/relationships/oleObject" Target="../embeddings/oleObject5.bin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410.xml"/><Relationship Id="rId1" Type="http://schemas.openxmlformats.org/officeDocument/2006/relationships/tags" Target="../tags/tag409.xml"/><Relationship Id="rId6" Type="http://schemas.openxmlformats.org/officeDocument/2006/relationships/image" Target="../media/image6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7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11.xml"/><Relationship Id="rId4" Type="http://schemas.openxmlformats.org/officeDocument/2006/relationships/image" Target="../media/image11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12.xml"/><Relationship Id="rId4" Type="http://schemas.openxmlformats.org/officeDocument/2006/relationships/image" Target="../media/image11.emf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414.xml"/><Relationship Id="rId1" Type="http://schemas.openxmlformats.org/officeDocument/2006/relationships/tags" Target="../tags/tag413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60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33.xml"/><Relationship Id="rId1" Type="http://schemas.openxmlformats.org/officeDocument/2006/relationships/tags" Target="../tags/tag432.xml"/><Relationship Id="rId6" Type="http://schemas.openxmlformats.org/officeDocument/2006/relationships/image" Target="../media/image6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62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34.xml"/><Relationship Id="rId4" Type="http://schemas.openxmlformats.org/officeDocument/2006/relationships/image" Target="../media/image11.emf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image" Target="../media/image2.emf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tags" Target="../tags/tag77.xml"/><Relationship Id="rId11" Type="http://schemas.openxmlformats.org/officeDocument/2006/relationships/image" Target="../media/image1.emf"/><Relationship Id="rId5" Type="http://schemas.openxmlformats.org/officeDocument/2006/relationships/tags" Target="../tags/tag76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75.xml"/><Relationship Id="rId9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35.xml"/><Relationship Id="rId4" Type="http://schemas.openxmlformats.org/officeDocument/2006/relationships/image" Target="../media/image11.emf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37.xml"/><Relationship Id="rId1" Type="http://schemas.openxmlformats.org/officeDocument/2006/relationships/tags" Target="../tags/tag436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65.bin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460.xml"/><Relationship Id="rId7" Type="http://schemas.openxmlformats.org/officeDocument/2006/relationships/oleObject" Target="../embeddings/oleObject67.bin"/><Relationship Id="rId2" Type="http://schemas.openxmlformats.org/officeDocument/2006/relationships/tags" Target="../tags/tag459.xml"/><Relationship Id="rId1" Type="http://schemas.openxmlformats.org/officeDocument/2006/relationships/tags" Target="../tags/tag458.xml"/><Relationship Id="rId6" Type="http://schemas.openxmlformats.org/officeDocument/2006/relationships/slideMaster" Target="../slideMasters/slideMaster9.xml"/><Relationship Id="rId11" Type="http://schemas.microsoft.com/office/2007/relationships/hdphoto" Target="../media/hdphoto1.wdp"/><Relationship Id="rId5" Type="http://schemas.openxmlformats.org/officeDocument/2006/relationships/tags" Target="../tags/tag462.xml"/><Relationship Id="rId10" Type="http://schemas.openxmlformats.org/officeDocument/2006/relationships/image" Target="../media/image5.png"/><Relationship Id="rId4" Type="http://schemas.openxmlformats.org/officeDocument/2006/relationships/tags" Target="../tags/tag461.xml"/><Relationship Id="rId9" Type="http://schemas.openxmlformats.org/officeDocument/2006/relationships/image" Target="../media/image4.jpeg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9.xml"/><Relationship Id="rId3" Type="http://schemas.openxmlformats.org/officeDocument/2006/relationships/tags" Target="../tags/tag465.xml"/><Relationship Id="rId7" Type="http://schemas.openxmlformats.org/officeDocument/2006/relationships/tags" Target="../tags/tag469.xml"/><Relationship Id="rId2" Type="http://schemas.openxmlformats.org/officeDocument/2006/relationships/tags" Target="../tags/tag464.xml"/><Relationship Id="rId1" Type="http://schemas.openxmlformats.org/officeDocument/2006/relationships/tags" Target="../tags/tag463.xml"/><Relationship Id="rId6" Type="http://schemas.openxmlformats.org/officeDocument/2006/relationships/tags" Target="../tags/tag468.xml"/><Relationship Id="rId5" Type="http://schemas.openxmlformats.org/officeDocument/2006/relationships/tags" Target="../tags/tag467.xml"/><Relationship Id="rId10" Type="http://schemas.openxmlformats.org/officeDocument/2006/relationships/image" Target="../media/image1.emf"/><Relationship Id="rId4" Type="http://schemas.openxmlformats.org/officeDocument/2006/relationships/tags" Target="../tags/tag466.xml"/><Relationship Id="rId9" Type="http://schemas.openxmlformats.org/officeDocument/2006/relationships/oleObject" Target="../embeddings/oleObject68.bin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9.bin"/><Relationship Id="rId3" Type="http://schemas.openxmlformats.org/officeDocument/2006/relationships/tags" Target="../tags/tag472.xml"/><Relationship Id="rId7" Type="http://schemas.openxmlformats.org/officeDocument/2006/relationships/slideMaster" Target="../slideMasters/slideMaster9.xml"/><Relationship Id="rId2" Type="http://schemas.openxmlformats.org/officeDocument/2006/relationships/tags" Target="../tags/tag471.xml"/><Relationship Id="rId1" Type="http://schemas.openxmlformats.org/officeDocument/2006/relationships/tags" Target="../tags/tag470.xml"/><Relationship Id="rId6" Type="http://schemas.openxmlformats.org/officeDocument/2006/relationships/tags" Target="../tags/tag475.xml"/><Relationship Id="rId5" Type="http://schemas.openxmlformats.org/officeDocument/2006/relationships/tags" Target="../tags/tag474.xml"/><Relationship Id="rId4" Type="http://schemas.openxmlformats.org/officeDocument/2006/relationships/tags" Target="../tags/tag473.xml"/><Relationship Id="rId9" Type="http://schemas.openxmlformats.org/officeDocument/2006/relationships/image" Target="../media/image3.emf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0.bin"/><Relationship Id="rId3" Type="http://schemas.openxmlformats.org/officeDocument/2006/relationships/tags" Target="../tags/tag478.xml"/><Relationship Id="rId7" Type="http://schemas.openxmlformats.org/officeDocument/2006/relationships/slideMaster" Target="../slideMasters/slideMaster9.xml"/><Relationship Id="rId2" Type="http://schemas.openxmlformats.org/officeDocument/2006/relationships/tags" Target="../tags/tag477.xml"/><Relationship Id="rId1" Type="http://schemas.openxmlformats.org/officeDocument/2006/relationships/tags" Target="../tags/tag476.xml"/><Relationship Id="rId6" Type="http://schemas.openxmlformats.org/officeDocument/2006/relationships/tags" Target="../tags/tag481.xml"/><Relationship Id="rId5" Type="http://schemas.openxmlformats.org/officeDocument/2006/relationships/tags" Target="../tags/tag480.xml"/><Relationship Id="rId4" Type="http://schemas.openxmlformats.org/officeDocument/2006/relationships/tags" Target="../tags/tag479.xml"/><Relationship Id="rId9" Type="http://schemas.openxmlformats.org/officeDocument/2006/relationships/image" Target="../media/image3.emf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1.bin"/><Relationship Id="rId3" Type="http://schemas.openxmlformats.org/officeDocument/2006/relationships/tags" Target="../tags/tag484.xml"/><Relationship Id="rId7" Type="http://schemas.openxmlformats.org/officeDocument/2006/relationships/slideMaster" Target="../slideMasters/slideMaster9.xml"/><Relationship Id="rId2" Type="http://schemas.openxmlformats.org/officeDocument/2006/relationships/tags" Target="../tags/tag483.xml"/><Relationship Id="rId1" Type="http://schemas.openxmlformats.org/officeDocument/2006/relationships/tags" Target="../tags/tag482.xml"/><Relationship Id="rId6" Type="http://schemas.openxmlformats.org/officeDocument/2006/relationships/tags" Target="../tags/tag487.xml"/><Relationship Id="rId5" Type="http://schemas.openxmlformats.org/officeDocument/2006/relationships/tags" Target="../tags/tag486.xml"/><Relationship Id="rId10" Type="http://schemas.openxmlformats.org/officeDocument/2006/relationships/image" Target="../media/image6.png"/><Relationship Id="rId4" Type="http://schemas.openxmlformats.org/officeDocument/2006/relationships/tags" Target="../tags/tag485.xml"/><Relationship Id="rId9" Type="http://schemas.openxmlformats.org/officeDocument/2006/relationships/image" Target="../media/image3.emf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9.xml"/><Relationship Id="rId3" Type="http://schemas.openxmlformats.org/officeDocument/2006/relationships/tags" Target="../tags/tag490.xml"/><Relationship Id="rId7" Type="http://schemas.openxmlformats.org/officeDocument/2006/relationships/tags" Target="../tags/tag494.xml"/><Relationship Id="rId2" Type="http://schemas.openxmlformats.org/officeDocument/2006/relationships/tags" Target="../tags/tag489.xml"/><Relationship Id="rId1" Type="http://schemas.openxmlformats.org/officeDocument/2006/relationships/tags" Target="../tags/tag488.xml"/><Relationship Id="rId6" Type="http://schemas.openxmlformats.org/officeDocument/2006/relationships/tags" Target="../tags/tag493.xml"/><Relationship Id="rId5" Type="http://schemas.openxmlformats.org/officeDocument/2006/relationships/tags" Target="../tags/tag492.xml"/><Relationship Id="rId10" Type="http://schemas.openxmlformats.org/officeDocument/2006/relationships/image" Target="../media/image3.emf"/><Relationship Id="rId4" Type="http://schemas.openxmlformats.org/officeDocument/2006/relationships/tags" Target="../tags/tag491.xml"/><Relationship Id="rId9" Type="http://schemas.openxmlformats.org/officeDocument/2006/relationships/oleObject" Target="../embeddings/oleObject72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7.xml"/><Relationship Id="rId3" Type="http://schemas.openxmlformats.org/officeDocument/2006/relationships/tags" Target="../tags/tag82.xml"/><Relationship Id="rId7" Type="http://schemas.openxmlformats.org/officeDocument/2006/relationships/tags" Target="../tags/tag86.xml"/><Relationship Id="rId12" Type="http://schemas.openxmlformats.org/officeDocument/2006/relationships/image" Target="../media/image2.emf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tags" Target="../tags/tag85.xml"/><Relationship Id="rId11" Type="http://schemas.openxmlformats.org/officeDocument/2006/relationships/image" Target="../media/image1.emf"/><Relationship Id="rId5" Type="http://schemas.openxmlformats.org/officeDocument/2006/relationships/tags" Target="../tags/tag84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83.xml"/><Relationship Id="rId9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tags" Target="../tags/tag502.xml"/><Relationship Id="rId3" Type="http://schemas.openxmlformats.org/officeDocument/2006/relationships/tags" Target="../tags/tag497.xml"/><Relationship Id="rId7" Type="http://schemas.openxmlformats.org/officeDocument/2006/relationships/tags" Target="../tags/tag501.xml"/><Relationship Id="rId12" Type="http://schemas.openxmlformats.org/officeDocument/2006/relationships/image" Target="../media/image2.emf"/><Relationship Id="rId2" Type="http://schemas.openxmlformats.org/officeDocument/2006/relationships/tags" Target="../tags/tag496.xml"/><Relationship Id="rId1" Type="http://schemas.openxmlformats.org/officeDocument/2006/relationships/tags" Target="../tags/tag495.xml"/><Relationship Id="rId6" Type="http://schemas.openxmlformats.org/officeDocument/2006/relationships/tags" Target="../tags/tag500.xml"/><Relationship Id="rId11" Type="http://schemas.openxmlformats.org/officeDocument/2006/relationships/image" Target="../media/image1.emf"/><Relationship Id="rId5" Type="http://schemas.openxmlformats.org/officeDocument/2006/relationships/tags" Target="../tags/tag499.xml"/><Relationship Id="rId10" Type="http://schemas.openxmlformats.org/officeDocument/2006/relationships/oleObject" Target="../embeddings/oleObject73.bin"/><Relationship Id="rId4" Type="http://schemas.openxmlformats.org/officeDocument/2006/relationships/tags" Target="../tags/tag498.xml"/><Relationship Id="rId9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8" Type="http://schemas.openxmlformats.org/officeDocument/2006/relationships/tags" Target="../tags/tag510.xml"/><Relationship Id="rId3" Type="http://schemas.openxmlformats.org/officeDocument/2006/relationships/tags" Target="../tags/tag505.xml"/><Relationship Id="rId7" Type="http://schemas.openxmlformats.org/officeDocument/2006/relationships/tags" Target="../tags/tag509.xml"/><Relationship Id="rId12" Type="http://schemas.openxmlformats.org/officeDocument/2006/relationships/image" Target="../media/image2.emf"/><Relationship Id="rId2" Type="http://schemas.openxmlformats.org/officeDocument/2006/relationships/tags" Target="../tags/tag504.xml"/><Relationship Id="rId1" Type="http://schemas.openxmlformats.org/officeDocument/2006/relationships/tags" Target="../tags/tag503.xml"/><Relationship Id="rId6" Type="http://schemas.openxmlformats.org/officeDocument/2006/relationships/tags" Target="../tags/tag508.xml"/><Relationship Id="rId11" Type="http://schemas.openxmlformats.org/officeDocument/2006/relationships/image" Target="../media/image1.emf"/><Relationship Id="rId5" Type="http://schemas.openxmlformats.org/officeDocument/2006/relationships/tags" Target="../tags/tag507.xml"/><Relationship Id="rId10" Type="http://schemas.openxmlformats.org/officeDocument/2006/relationships/oleObject" Target="../embeddings/oleObject74.bin"/><Relationship Id="rId4" Type="http://schemas.openxmlformats.org/officeDocument/2006/relationships/tags" Target="../tags/tag506.xml"/><Relationship Id="rId9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8" Type="http://schemas.openxmlformats.org/officeDocument/2006/relationships/tags" Target="../tags/tag518.xml"/><Relationship Id="rId3" Type="http://schemas.openxmlformats.org/officeDocument/2006/relationships/tags" Target="../tags/tag513.xml"/><Relationship Id="rId7" Type="http://schemas.openxmlformats.org/officeDocument/2006/relationships/tags" Target="../tags/tag517.xml"/><Relationship Id="rId12" Type="http://schemas.openxmlformats.org/officeDocument/2006/relationships/image" Target="../media/image2.emf"/><Relationship Id="rId2" Type="http://schemas.openxmlformats.org/officeDocument/2006/relationships/tags" Target="../tags/tag512.xml"/><Relationship Id="rId1" Type="http://schemas.openxmlformats.org/officeDocument/2006/relationships/tags" Target="../tags/tag511.xml"/><Relationship Id="rId6" Type="http://schemas.openxmlformats.org/officeDocument/2006/relationships/tags" Target="../tags/tag516.xml"/><Relationship Id="rId11" Type="http://schemas.openxmlformats.org/officeDocument/2006/relationships/image" Target="../media/image1.emf"/><Relationship Id="rId5" Type="http://schemas.openxmlformats.org/officeDocument/2006/relationships/tags" Target="../tags/tag515.xml"/><Relationship Id="rId10" Type="http://schemas.openxmlformats.org/officeDocument/2006/relationships/oleObject" Target="../embeddings/oleObject75.bin"/><Relationship Id="rId4" Type="http://schemas.openxmlformats.org/officeDocument/2006/relationships/tags" Target="../tags/tag514.xml"/><Relationship Id="rId9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8" Type="http://schemas.openxmlformats.org/officeDocument/2006/relationships/tags" Target="../tags/tag526.xml"/><Relationship Id="rId3" Type="http://schemas.openxmlformats.org/officeDocument/2006/relationships/tags" Target="../tags/tag521.xml"/><Relationship Id="rId7" Type="http://schemas.openxmlformats.org/officeDocument/2006/relationships/tags" Target="../tags/tag525.xml"/><Relationship Id="rId12" Type="http://schemas.openxmlformats.org/officeDocument/2006/relationships/image" Target="../media/image2.emf"/><Relationship Id="rId2" Type="http://schemas.openxmlformats.org/officeDocument/2006/relationships/tags" Target="../tags/tag520.xml"/><Relationship Id="rId1" Type="http://schemas.openxmlformats.org/officeDocument/2006/relationships/tags" Target="../tags/tag519.xml"/><Relationship Id="rId6" Type="http://schemas.openxmlformats.org/officeDocument/2006/relationships/tags" Target="../tags/tag524.xml"/><Relationship Id="rId11" Type="http://schemas.openxmlformats.org/officeDocument/2006/relationships/image" Target="../media/image7.emf"/><Relationship Id="rId5" Type="http://schemas.openxmlformats.org/officeDocument/2006/relationships/tags" Target="../tags/tag523.xml"/><Relationship Id="rId10" Type="http://schemas.openxmlformats.org/officeDocument/2006/relationships/oleObject" Target="../embeddings/oleObject76.bin"/><Relationship Id="rId4" Type="http://schemas.openxmlformats.org/officeDocument/2006/relationships/tags" Target="../tags/tag522.xml"/><Relationship Id="rId9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8" Type="http://schemas.openxmlformats.org/officeDocument/2006/relationships/tags" Target="../tags/tag534.xml"/><Relationship Id="rId3" Type="http://schemas.openxmlformats.org/officeDocument/2006/relationships/tags" Target="../tags/tag529.xml"/><Relationship Id="rId7" Type="http://schemas.openxmlformats.org/officeDocument/2006/relationships/tags" Target="../tags/tag533.xml"/><Relationship Id="rId12" Type="http://schemas.openxmlformats.org/officeDocument/2006/relationships/image" Target="../media/image2.emf"/><Relationship Id="rId2" Type="http://schemas.openxmlformats.org/officeDocument/2006/relationships/tags" Target="../tags/tag528.xml"/><Relationship Id="rId1" Type="http://schemas.openxmlformats.org/officeDocument/2006/relationships/tags" Target="../tags/tag527.xml"/><Relationship Id="rId6" Type="http://schemas.openxmlformats.org/officeDocument/2006/relationships/tags" Target="../tags/tag532.xml"/><Relationship Id="rId11" Type="http://schemas.openxmlformats.org/officeDocument/2006/relationships/image" Target="../media/image1.emf"/><Relationship Id="rId5" Type="http://schemas.openxmlformats.org/officeDocument/2006/relationships/tags" Target="../tags/tag531.xml"/><Relationship Id="rId10" Type="http://schemas.openxmlformats.org/officeDocument/2006/relationships/oleObject" Target="../embeddings/oleObject77.bin"/><Relationship Id="rId4" Type="http://schemas.openxmlformats.org/officeDocument/2006/relationships/tags" Target="../tags/tag530.xml"/><Relationship Id="rId9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8.bin"/><Relationship Id="rId3" Type="http://schemas.openxmlformats.org/officeDocument/2006/relationships/tags" Target="../tags/tag537.xml"/><Relationship Id="rId7" Type="http://schemas.openxmlformats.org/officeDocument/2006/relationships/slideMaster" Target="../slideMasters/slideMaster9.xml"/><Relationship Id="rId2" Type="http://schemas.openxmlformats.org/officeDocument/2006/relationships/tags" Target="../tags/tag536.xml"/><Relationship Id="rId1" Type="http://schemas.openxmlformats.org/officeDocument/2006/relationships/tags" Target="../tags/tag535.xml"/><Relationship Id="rId6" Type="http://schemas.openxmlformats.org/officeDocument/2006/relationships/tags" Target="../tags/tag540.xml"/><Relationship Id="rId5" Type="http://schemas.openxmlformats.org/officeDocument/2006/relationships/tags" Target="../tags/tag539.xml"/><Relationship Id="rId10" Type="http://schemas.openxmlformats.org/officeDocument/2006/relationships/image" Target="../media/image2.emf"/><Relationship Id="rId4" Type="http://schemas.openxmlformats.org/officeDocument/2006/relationships/tags" Target="../tags/tag538.xml"/><Relationship Id="rId9" Type="http://schemas.openxmlformats.org/officeDocument/2006/relationships/image" Target="../media/image3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tags" Target="../tags/tag543.xml"/><Relationship Id="rId7" Type="http://schemas.openxmlformats.org/officeDocument/2006/relationships/image" Target="../media/image3.emf"/><Relationship Id="rId2" Type="http://schemas.openxmlformats.org/officeDocument/2006/relationships/tags" Target="../tags/tag542.xml"/><Relationship Id="rId1" Type="http://schemas.openxmlformats.org/officeDocument/2006/relationships/tags" Target="../tags/tag541.xml"/><Relationship Id="rId6" Type="http://schemas.openxmlformats.org/officeDocument/2006/relationships/oleObject" Target="../embeddings/oleObject79.bin"/><Relationship Id="rId5" Type="http://schemas.openxmlformats.org/officeDocument/2006/relationships/slideMaster" Target="../slideMasters/slideMaster9.xml"/><Relationship Id="rId4" Type="http://schemas.openxmlformats.org/officeDocument/2006/relationships/tags" Target="../tags/tag544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546.xml"/><Relationship Id="rId1" Type="http://schemas.openxmlformats.org/officeDocument/2006/relationships/tags" Target="../tags/tag545.x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8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6418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1" name="Group 20">
            <a:extLst>
              <a:ext uri="{FF2B5EF4-FFF2-40B4-BE49-F238E27FC236}">
                <a16:creationId xmlns:a16="http://schemas.microsoft.com/office/drawing/2014/main" id="{ABE20079-317D-4FF6-9684-AA9B0F2E05B7}"/>
              </a:ext>
            </a:extLst>
          </p:cNvPr>
          <p:cNvGrpSpPr/>
          <p:nvPr/>
        </p:nvGrpSpPr>
        <p:grpSpPr bwMode="ltGray">
          <a:xfrm>
            <a:off x="-15898" y="-12038"/>
            <a:ext cx="12207898" cy="6870038"/>
            <a:chOff x="-15898" y="-12038"/>
            <a:chExt cx="12207898" cy="6870038"/>
          </a:xfrm>
        </p:grpSpPr>
        <p:pic>
          <p:nvPicPr>
            <p:cNvPr id="22" name="Picture 65" descr="About">
              <a:extLst>
                <a:ext uri="{FF2B5EF4-FFF2-40B4-BE49-F238E27FC236}">
                  <a16:creationId xmlns:a16="http://schemas.microsoft.com/office/drawing/2014/main" id="{957E44BD-EE8D-4695-ABA2-0753259E916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886" r="5521"/>
            <a:stretch/>
          </p:blipFill>
          <p:spPr bwMode="ltGray">
            <a:xfrm>
              <a:off x="-15898" y="0"/>
              <a:ext cx="12207898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516671B-FB20-4F1D-BBC2-8B2B6B9CFB5B}"/>
                </a:ext>
              </a:extLst>
            </p:cNvPr>
            <p:cNvSpPr/>
            <p:nvPr/>
          </p:nvSpPr>
          <p:spPr bwMode="ltGray">
            <a:xfrm>
              <a:off x="-15898" y="0"/>
              <a:ext cx="12207898" cy="6858000"/>
            </a:xfrm>
            <a:prstGeom prst="rect">
              <a:avLst/>
            </a:prstGeom>
            <a:gradFill flip="none" rotWithShape="1">
              <a:gsLst>
                <a:gs pos="18000">
                  <a:srgbClr val="3F6B39">
                    <a:alpha val="86000"/>
                  </a:srgbClr>
                </a:gs>
                <a:gs pos="100000">
                  <a:srgbClr val="3F6B39">
                    <a:alpha val="35000"/>
                  </a:srgbClr>
                </a:gs>
              </a:gsLst>
              <a:lin ang="0" scaled="1"/>
              <a:tileRect/>
            </a:gradFill>
            <a:ln w="9525" cap="flat" cmpd="sng" algn="ctr">
              <a:solidFill>
                <a:srgbClr val="3F6B39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Group 1">
              <a:extLst>
                <a:ext uri="{FF2B5EF4-FFF2-40B4-BE49-F238E27FC236}">
                  <a16:creationId xmlns:a16="http://schemas.microsoft.com/office/drawing/2014/main" id="{BEA29757-EEB9-441E-8E05-A7FC79B582B0}"/>
                </a:ext>
              </a:extLst>
            </p:cNvPr>
            <p:cNvSpPr>
              <a:spLocks/>
            </p:cNvSpPr>
            <p:nvPr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FFFFFF">
                <a:alpha val="36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Freeform 34">
              <a:extLst>
                <a:ext uri="{FF2B5EF4-FFF2-40B4-BE49-F238E27FC236}">
                  <a16:creationId xmlns:a16="http://schemas.microsoft.com/office/drawing/2014/main" id="{AED4654A-20C8-4FAF-86B1-666B50010C77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7057081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" name="Freeform 35">
              <a:extLst>
                <a:ext uri="{FF2B5EF4-FFF2-40B4-BE49-F238E27FC236}">
                  <a16:creationId xmlns:a16="http://schemas.microsoft.com/office/drawing/2014/main" id="{4E5FF1D3-8BF9-472B-BD24-2F2AFB803D13}"/>
                </a:ext>
              </a:extLst>
            </p:cNvPr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" name="doc id">
              <a:extLst>
                <a:ext uri="{FF2B5EF4-FFF2-40B4-BE49-F238E27FC236}">
                  <a16:creationId xmlns:a16="http://schemas.microsoft.com/office/drawing/2014/main" id="{D32DC00C-C6B9-4638-A668-8F4F2A907D3B}"/>
                </a:ext>
              </a:extLst>
            </p:cNvPr>
            <p:cNvSpPr>
              <a:spLocks noChangeArrowheads="1"/>
            </p:cNvSpPr>
            <p:nvPr/>
          </p:nvSpPr>
          <p:spPr bwMode="ltGray">
            <a:xfrm>
              <a:off x="11064591" y="51833"/>
              <a:ext cx="894152" cy="1247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marL="0" marR="0" lvl="0" indent="0" algn="r" defTabSz="9135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16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F80159D0-6749-4DB5-9263-0C2BD85849B0}"/>
                </a:ext>
              </a:extLst>
            </p:cNvPr>
            <p:cNvSpPr>
              <a:spLocks/>
            </p:cNvSpPr>
            <p:nvPr/>
          </p:nvSpPr>
          <p:spPr bwMode="ltGray">
            <a:xfrm>
              <a:off x="10427596" y="1569403"/>
              <a:ext cx="1764404" cy="3834145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1 h 5403547"/>
                <a:gd name="connsiteX3" fmla="*/ 23964 w 2519830"/>
                <a:gd name="connsiteY3" fmla="*/ 1 h 5403547"/>
                <a:gd name="connsiteX4" fmla="*/ 755426 w 2519830"/>
                <a:gd name="connsiteY4" fmla="*/ 1569402 h 5403547"/>
                <a:gd name="connsiteX5" fmla="*/ 2519830 w 2519830"/>
                <a:gd name="connsiteY5" fmla="*/ 2390793 h 5403547"/>
                <a:gd name="connsiteX6" fmla="*/ 2519830 w 2519830"/>
                <a:gd name="connsiteY6" fmla="*/ 5403547 h 5403547"/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3964 w 2519830"/>
                <a:gd name="connsiteY2" fmla="*/ 1 h 5403547"/>
                <a:gd name="connsiteX3" fmla="*/ 755426 w 2519830"/>
                <a:gd name="connsiteY3" fmla="*/ 1569402 h 5403547"/>
                <a:gd name="connsiteX4" fmla="*/ 2519830 w 2519830"/>
                <a:gd name="connsiteY4" fmla="*/ 2390793 h 5403547"/>
                <a:gd name="connsiteX5" fmla="*/ 2519830 w 2519830"/>
                <a:gd name="connsiteY5" fmla="*/ 5403547 h 5403547"/>
                <a:gd name="connsiteX6" fmla="*/ 0 w 2519830"/>
                <a:gd name="connsiteY6" fmla="*/ 0 h 5403547"/>
                <a:gd name="connsiteX0" fmla="*/ 0 w 2519830"/>
                <a:gd name="connsiteY0" fmla="*/ 0 h 5403547"/>
                <a:gd name="connsiteX1" fmla="*/ 23964 w 2519830"/>
                <a:gd name="connsiteY1" fmla="*/ 1 h 5403547"/>
                <a:gd name="connsiteX2" fmla="*/ 755426 w 2519830"/>
                <a:gd name="connsiteY2" fmla="*/ 1569402 h 5403547"/>
                <a:gd name="connsiteX3" fmla="*/ 2519830 w 2519830"/>
                <a:gd name="connsiteY3" fmla="*/ 2390793 h 5403547"/>
                <a:gd name="connsiteX4" fmla="*/ 2519830 w 2519830"/>
                <a:gd name="connsiteY4" fmla="*/ 5403547 h 5403547"/>
                <a:gd name="connsiteX5" fmla="*/ 0 w 2519830"/>
                <a:gd name="connsiteY5" fmla="*/ 0 h 5403547"/>
                <a:gd name="connsiteX0" fmla="*/ 2495866 w 2495866"/>
                <a:gd name="connsiteY0" fmla="*/ 5403546 h 5403546"/>
                <a:gd name="connsiteX1" fmla="*/ 0 w 2495866"/>
                <a:gd name="connsiteY1" fmla="*/ 0 h 5403546"/>
                <a:gd name="connsiteX2" fmla="*/ 731462 w 2495866"/>
                <a:gd name="connsiteY2" fmla="*/ 1569401 h 5403546"/>
                <a:gd name="connsiteX3" fmla="*/ 2495866 w 2495866"/>
                <a:gd name="connsiteY3" fmla="*/ 2390792 h 5403546"/>
                <a:gd name="connsiteX4" fmla="*/ 2495866 w 2495866"/>
                <a:gd name="connsiteY4" fmla="*/ 5403546 h 5403546"/>
                <a:gd name="connsiteX0" fmla="*/ 1764404 w 1764404"/>
                <a:gd name="connsiteY0" fmla="*/ 3834145 h 3834145"/>
                <a:gd name="connsiteX1" fmla="*/ 0 w 1764404"/>
                <a:gd name="connsiteY1" fmla="*/ 0 h 3834145"/>
                <a:gd name="connsiteX2" fmla="*/ 1764404 w 1764404"/>
                <a:gd name="connsiteY2" fmla="*/ 821391 h 3834145"/>
                <a:gd name="connsiteX3" fmla="*/ 1764404 w 1764404"/>
                <a:gd name="connsiteY3" fmla="*/ 3834145 h 3834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64404" h="3834145">
                  <a:moveTo>
                    <a:pt x="1764404" y="3834145"/>
                  </a:moveTo>
                  <a:lnTo>
                    <a:pt x="0" y="0"/>
                  </a:lnTo>
                  <a:lnTo>
                    <a:pt x="1764404" y="821391"/>
                  </a:lnTo>
                  <a:lnTo>
                    <a:pt x="1764404" y="3834145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9" name="Picture 12">
              <a:extLst>
                <a:ext uri="{FF2B5EF4-FFF2-40B4-BE49-F238E27FC236}">
                  <a16:creationId xmlns:a16="http://schemas.microsoft.com/office/drawing/2014/main" id="{59BA4928-D1F4-4469-8793-2852B2E49AE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 bwMode="ltGray">
            <a:xfrm>
              <a:off x="611441" y="542924"/>
              <a:ext cx="2688569" cy="841321"/>
            </a:xfrm>
            <a:prstGeom prst="rect">
              <a:avLst/>
            </a:prstGeom>
          </p:spPr>
        </p:pic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4F280B4-D75B-46AB-A268-90910F535ED6}"/>
                </a:ext>
              </a:extLst>
            </p:cNvPr>
            <p:cNvSpPr>
              <a:spLocks/>
            </p:cNvSpPr>
            <p:nvPr/>
          </p:nvSpPr>
          <p:spPr bwMode="ltGray">
            <a:xfrm>
              <a:off x="6443063" y="-12038"/>
              <a:ext cx="5474706" cy="4825984"/>
            </a:xfrm>
            <a:custGeom>
              <a:avLst/>
              <a:gdLst>
                <a:gd name="connsiteX0" fmla="*/ 0 w 5474706"/>
                <a:gd name="connsiteY0" fmla="*/ 0 h 4825984"/>
                <a:gd name="connsiteX1" fmla="*/ 610810 w 5474706"/>
                <a:gd name="connsiteY1" fmla="*/ 0 h 4825984"/>
                <a:gd name="connsiteX2" fmla="*/ 3981656 w 5474706"/>
                <a:gd name="connsiteY2" fmla="*/ 1569869 h 4825984"/>
                <a:gd name="connsiteX3" fmla="*/ 3982923 w 5474706"/>
                <a:gd name="connsiteY3" fmla="*/ 1572586 h 4825984"/>
                <a:gd name="connsiteX4" fmla="*/ 3976086 w 5474706"/>
                <a:gd name="connsiteY4" fmla="*/ 1569403 h 4825984"/>
                <a:gd name="connsiteX5" fmla="*/ 5474706 w 5474706"/>
                <a:gd name="connsiteY5" fmla="*/ 4825984 h 4825984"/>
                <a:gd name="connsiteX6" fmla="*/ 1349206 w 5474706"/>
                <a:gd name="connsiteY6" fmla="*/ 2911232 h 4825984"/>
                <a:gd name="connsiteX7" fmla="*/ 510415 w 5474706"/>
                <a:gd name="connsiteY7" fmla="*/ 1101566 h 4825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474706" h="4825984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3982923" y="1572586"/>
                  </a:lnTo>
                  <a:lnTo>
                    <a:pt x="3976086" y="1569403"/>
                  </a:lnTo>
                  <a:lnTo>
                    <a:pt x="5474706" y="4825984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6192267"/>
            <a:ext cx="683583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5774658"/>
            <a:ext cx="683583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2" y="2210324"/>
            <a:ext cx="6835830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AB0CD9-1BA9-EDB1-4A11-C080FA1DF1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276418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92" imgH="591" progId="TCLayout.ActiveDocument.1">
                  <p:embed/>
                </p:oleObj>
              </mc:Choice>
              <mc:Fallback>
                <p:oleObj name="think-cell Slide" r:id="rId1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AB0CD9-1BA9-EDB1-4A11-C080FA1DF1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8E58E711-6B1A-A4EE-E2D3-C799159CDD51}"/>
              </a:ext>
            </a:extLst>
          </p:cNvPr>
          <p:cNvGrpSpPr/>
          <p:nvPr userDrawn="1"/>
        </p:nvGrpSpPr>
        <p:grpSpPr bwMode="ltGray">
          <a:xfrm>
            <a:off x="-15898" y="-12038"/>
            <a:ext cx="12207898" cy="6870038"/>
            <a:chOff x="-15898" y="-12038"/>
            <a:chExt cx="12207898" cy="6870038"/>
          </a:xfrm>
        </p:grpSpPr>
        <p:pic>
          <p:nvPicPr>
            <p:cNvPr id="5" name="Picture 65" descr="About">
              <a:extLst>
                <a:ext uri="{FF2B5EF4-FFF2-40B4-BE49-F238E27FC236}">
                  <a16:creationId xmlns:a16="http://schemas.microsoft.com/office/drawing/2014/main" id="{39638C46-CEE4-DDFA-19AC-84AD1A43677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886" r="5521"/>
            <a:stretch/>
          </p:blipFill>
          <p:spPr bwMode="ltGray">
            <a:xfrm>
              <a:off x="-15898" y="0"/>
              <a:ext cx="12207898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E065A19-3D68-82C7-21F4-D09B8F4E36D3}"/>
                </a:ext>
              </a:extLst>
            </p:cNvPr>
            <p:cNvSpPr/>
            <p:nvPr/>
          </p:nvSpPr>
          <p:spPr bwMode="ltGray">
            <a:xfrm>
              <a:off x="-15898" y="0"/>
              <a:ext cx="12207898" cy="6858000"/>
            </a:xfrm>
            <a:prstGeom prst="rect">
              <a:avLst/>
            </a:prstGeom>
            <a:gradFill flip="none" rotWithShape="1">
              <a:gsLst>
                <a:gs pos="18000">
                  <a:srgbClr val="3F6B39">
                    <a:alpha val="86000"/>
                  </a:srgbClr>
                </a:gs>
                <a:gs pos="100000">
                  <a:srgbClr val="3F6B39">
                    <a:alpha val="35000"/>
                  </a:srgbClr>
                </a:gs>
              </a:gsLst>
              <a:lin ang="0" scaled="1"/>
              <a:tileRect/>
            </a:gradFill>
            <a:ln w="9525" cap="flat" cmpd="sng" algn="ctr">
              <a:solidFill>
                <a:srgbClr val="3F6B39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Group 1">
              <a:extLst>
                <a:ext uri="{FF2B5EF4-FFF2-40B4-BE49-F238E27FC236}">
                  <a16:creationId xmlns:a16="http://schemas.microsoft.com/office/drawing/2014/main" id="{C90B576D-2FB6-20CB-8320-2D5FE8639A90}"/>
                </a:ext>
              </a:extLst>
            </p:cNvPr>
            <p:cNvSpPr>
              <a:spLocks/>
            </p:cNvSpPr>
            <p:nvPr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FFFFFF">
                <a:alpha val="36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9" name="Freeform 34">
              <a:extLst>
                <a:ext uri="{FF2B5EF4-FFF2-40B4-BE49-F238E27FC236}">
                  <a16:creationId xmlns:a16="http://schemas.microsoft.com/office/drawing/2014/main" id="{8A49AE16-D8A4-3006-BAF3-E7EBDAAB51B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7057081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Freeform 35">
              <a:extLst>
                <a:ext uri="{FF2B5EF4-FFF2-40B4-BE49-F238E27FC236}">
                  <a16:creationId xmlns:a16="http://schemas.microsoft.com/office/drawing/2014/main" id="{69533352-BF86-346F-5B6C-7A747A17BC73}"/>
                </a:ext>
              </a:extLst>
            </p:cNvPr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doc id">
              <a:extLst>
                <a:ext uri="{FF2B5EF4-FFF2-40B4-BE49-F238E27FC236}">
                  <a16:creationId xmlns:a16="http://schemas.microsoft.com/office/drawing/2014/main" id="{25775342-417E-83AE-F867-1336A03898EB}"/>
                </a:ext>
              </a:extLst>
            </p:cNvPr>
            <p:cNvSpPr>
              <a:spLocks noChangeArrowheads="1"/>
            </p:cNvSpPr>
            <p:nvPr/>
          </p:nvSpPr>
          <p:spPr bwMode="ltGray">
            <a:xfrm>
              <a:off x="11064591" y="51833"/>
              <a:ext cx="894152" cy="1247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marL="0" marR="0" lvl="0" indent="0" algn="r" defTabSz="9135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16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CE562F68-D570-4CA4-D906-B2DC50C8C045}"/>
                </a:ext>
              </a:extLst>
            </p:cNvPr>
            <p:cNvSpPr>
              <a:spLocks/>
            </p:cNvSpPr>
            <p:nvPr/>
          </p:nvSpPr>
          <p:spPr bwMode="ltGray">
            <a:xfrm>
              <a:off x="10427596" y="1569403"/>
              <a:ext cx="1764404" cy="3834145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1 h 5403547"/>
                <a:gd name="connsiteX3" fmla="*/ 23964 w 2519830"/>
                <a:gd name="connsiteY3" fmla="*/ 1 h 5403547"/>
                <a:gd name="connsiteX4" fmla="*/ 755426 w 2519830"/>
                <a:gd name="connsiteY4" fmla="*/ 1569402 h 5403547"/>
                <a:gd name="connsiteX5" fmla="*/ 2519830 w 2519830"/>
                <a:gd name="connsiteY5" fmla="*/ 2390793 h 5403547"/>
                <a:gd name="connsiteX6" fmla="*/ 2519830 w 2519830"/>
                <a:gd name="connsiteY6" fmla="*/ 5403547 h 5403547"/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3964 w 2519830"/>
                <a:gd name="connsiteY2" fmla="*/ 1 h 5403547"/>
                <a:gd name="connsiteX3" fmla="*/ 755426 w 2519830"/>
                <a:gd name="connsiteY3" fmla="*/ 1569402 h 5403547"/>
                <a:gd name="connsiteX4" fmla="*/ 2519830 w 2519830"/>
                <a:gd name="connsiteY4" fmla="*/ 2390793 h 5403547"/>
                <a:gd name="connsiteX5" fmla="*/ 2519830 w 2519830"/>
                <a:gd name="connsiteY5" fmla="*/ 5403547 h 5403547"/>
                <a:gd name="connsiteX6" fmla="*/ 0 w 2519830"/>
                <a:gd name="connsiteY6" fmla="*/ 0 h 5403547"/>
                <a:gd name="connsiteX0" fmla="*/ 0 w 2519830"/>
                <a:gd name="connsiteY0" fmla="*/ 0 h 5403547"/>
                <a:gd name="connsiteX1" fmla="*/ 23964 w 2519830"/>
                <a:gd name="connsiteY1" fmla="*/ 1 h 5403547"/>
                <a:gd name="connsiteX2" fmla="*/ 755426 w 2519830"/>
                <a:gd name="connsiteY2" fmla="*/ 1569402 h 5403547"/>
                <a:gd name="connsiteX3" fmla="*/ 2519830 w 2519830"/>
                <a:gd name="connsiteY3" fmla="*/ 2390793 h 5403547"/>
                <a:gd name="connsiteX4" fmla="*/ 2519830 w 2519830"/>
                <a:gd name="connsiteY4" fmla="*/ 5403547 h 5403547"/>
                <a:gd name="connsiteX5" fmla="*/ 0 w 2519830"/>
                <a:gd name="connsiteY5" fmla="*/ 0 h 5403547"/>
                <a:gd name="connsiteX0" fmla="*/ 2495866 w 2495866"/>
                <a:gd name="connsiteY0" fmla="*/ 5403546 h 5403546"/>
                <a:gd name="connsiteX1" fmla="*/ 0 w 2495866"/>
                <a:gd name="connsiteY1" fmla="*/ 0 h 5403546"/>
                <a:gd name="connsiteX2" fmla="*/ 731462 w 2495866"/>
                <a:gd name="connsiteY2" fmla="*/ 1569401 h 5403546"/>
                <a:gd name="connsiteX3" fmla="*/ 2495866 w 2495866"/>
                <a:gd name="connsiteY3" fmla="*/ 2390792 h 5403546"/>
                <a:gd name="connsiteX4" fmla="*/ 2495866 w 2495866"/>
                <a:gd name="connsiteY4" fmla="*/ 5403546 h 5403546"/>
                <a:gd name="connsiteX0" fmla="*/ 1764404 w 1764404"/>
                <a:gd name="connsiteY0" fmla="*/ 3834145 h 3834145"/>
                <a:gd name="connsiteX1" fmla="*/ 0 w 1764404"/>
                <a:gd name="connsiteY1" fmla="*/ 0 h 3834145"/>
                <a:gd name="connsiteX2" fmla="*/ 1764404 w 1764404"/>
                <a:gd name="connsiteY2" fmla="*/ 821391 h 3834145"/>
                <a:gd name="connsiteX3" fmla="*/ 1764404 w 1764404"/>
                <a:gd name="connsiteY3" fmla="*/ 3834145 h 3834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64404" h="3834145">
                  <a:moveTo>
                    <a:pt x="1764404" y="3834145"/>
                  </a:moveTo>
                  <a:lnTo>
                    <a:pt x="0" y="0"/>
                  </a:lnTo>
                  <a:lnTo>
                    <a:pt x="1764404" y="821391"/>
                  </a:lnTo>
                  <a:lnTo>
                    <a:pt x="1764404" y="3834145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43F07E6A-EA10-8C4D-90C9-836A9EA4321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 bwMode="ltGray">
            <a:xfrm>
              <a:off x="611441" y="542924"/>
              <a:ext cx="2688569" cy="841321"/>
            </a:xfrm>
            <a:prstGeom prst="rect">
              <a:avLst/>
            </a:prstGeom>
          </p:spPr>
        </p:pic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945212F-1B29-DA1E-BB6C-ACBFC42B1273}"/>
                </a:ext>
              </a:extLst>
            </p:cNvPr>
            <p:cNvSpPr>
              <a:spLocks/>
            </p:cNvSpPr>
            <p:nvPr/>
          </p:nvSpPr>
          <p:spPr bwMode="ltGray">
            <a:xfrm>
              <a:off x="6443063" y="-12038"/>
              <a:ext cx="5474706" cy="4825984"/>
            </a:xfrm>
            <a:custGeom>
              <a:avLst/>
              <a:gdLst>
                <a:gd name="connsiteX0" fmla="*/ 0 w 5474706"/>
                <a:gd name="connsiteY0" fmla="*/ 0 h 4825984"/>
                <a:gd name="connsiteX1" fmla="*/ 610810 w 5474706"/>
                <a:gd name="connsiteY1" fmla="*/ 0 h 4825984"/>
                <a:gd name="connsiteX2" fmla="*/ 3981656 w 5474706"/>
                <a:gd name="connsiteY2" fmla="*/ 1569869 h 4825984"/>
                <a:gd name="connsiteX3" fmla="*/ 3982923 w 5474706"/>
                <a:gd name="connsiteY3" fmla="*/ 1572586 h 4825984"/>
                <a:gd name="connsiteX4" fmla="*/ 3976086 w 5474706"/>
                <a:gd name="connsiteY4" fmla="*/ 1569403 h 4825984"/>
                <a:gd name="connsiteX5" fmla="*/ 5474706 w 5474706"/>
                <a:gd name="connsiteY5" fmla="*/ 4825984 h 4825984"/>
                <a:gd name="connsiteX6" fmla="*/ 1349206 w 5474706"/>
                <a:gd name="connsiteY6" fmla="*/ 2911232 h 4825984"/>
                <a:gd name="connsiteX7" fmla="*/ 510415 w 5474706"/>
                <a:gd name="connsiteY7" fmla="*/ 1101566 h 4825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474706" h="4825984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3982923" y="1572586"/>
                  </a:lnTo>
                  <a:lnTo>
                    <a:pt x="3976086" y="1569403"/>
                  </a:lnTo>
                  <a:lnTo>
                    <a:pt x="5474706" y="4825984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9628204E-9659-C3ED-0BAC-90A8166C265D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767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7410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384721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0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6" y="6477661"/>
            <a:ext cx="6967729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4169A25B-A5F4-4C97-8540-ED9CC98F969D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6CD6A66-48C6-4BD2-B9B9-41E1EE0976B5}"/>
              </a:ext>
            </a:extLst>
          </p:cNvPr>
          <p:cNvPicPr>
            <a:picLocks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584169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9129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7918704" cy="384721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0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u="none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noProof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43CC0EF8-D168-4C66-AFFD-37DF3A91198C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05B57B7-BC67-458E-B7B0-A0429154B7BF}"/>
              </a:ext>
            </a:extLst>
          </p:cNvPr>
          <p:cNvPicPr>
            <a:picLocks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388236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4619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989512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856B0F7-D900-4CD7-9173-6BCAEC340F03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03A2897-8F59-42BD-B6DD-251E725B958D}"/>
              </a:ext>
            </a:extLst>
          </p:cNvPr>
          <p:cNvPicPr>
            <a:picLocks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357F0324-A612-4AAB-9DC4-C7A748AF3DB1}"/>
              </a:ext>
            </a:extLst>
          </p:cNvPr>
          <p:cNvGrpSpPr/>
          <p:nvPr/>
        </p:nvGrpSpPr>
        <p:grpSpPr>
          <a:xfrm>
            <a:off x="554736" y="6368464"/>
            <a:ext cx="11082528" cy="54693"/>
            <a:chOff x="554736" y="6349068"/>
            <a:chExt cx="11082528" cy="54693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198DE8D2-0E24-4923-8389-7500828D14BF}"/>
                </a:ext>
              </a:extLst>
            </p:cNvPr>
            <p:cNvCxnSpPr/>
            <p:nvPr userDrawn="1"/>
          </p:nvCxnSpPr>
          <p:spPr bwMode="ltGray">
            <a:xfrm flipV="1">
              <a:off x="554741" y="6349072"/>
              <a:ext cx="11082523" cy="17939"/>
            </a:xfrm>
            <a:prstGeom prst="line">
              <a:avLst/>
            </a:prstGeom>
            <a:noFill/>
            <a:ln w="6350" cap="flat" cmpd="sng" algn="ctr">
              <a:solidFill>
                <a:srgbClr val="A5A5A5"/>
              </a:solidFill>
              <a:prstDash val="solid"/>
              <a:miter lim="800000"/>
            </a:ln>
            <a:effectLst/>
          </p:spPr>
        </p:cxn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273C7CF2-784C-4329-9D05-25ECFF334BBF}"/>
                </a:ext>
              </a:extLst>
            </p:cNvPr>
            <p:cNvSpPr/>
            <p:nvPr userDrawn="1"/>
          </p:nvSpPr>
          <p:spPr bwMode="ltGray">
            <a:xfrm>
              <a:off x="554736" y="6358042"/>
              <a:ext cx="2797733" cy="45719"/>
            </a:xfrm>
            <a:prstGeom prst="rect">
              <a:avLst/>
            </a:prstGeom>
            <a:solidFill>
              <a:srgbClr val="000000">
                <a:lumMod val="65000"/>
                <a:lumOff val="3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5909122C-351C-4F9A-98FA-AB182939F686}"/>
                </a:ext>
              </a:extLst>
            </p:cNvPr>
            <p:cNvSpPr/>
            <p:nvPr userDrawn="1"/>
          </p:nvSpPr>
          <p:spPr bwMode="ltGray">
            <a:xfrm>
              <a:off x="10671243" y="6349068"/>
              <a:ext cx="966017" cy="54688"/>
            </a:xfrm>
            <a:prstGeom prst="rect">
              <a:avLst/>
            </a:prstGeom>
            <a:solidFill>
              <a:srgbClr val="000000">
                <a:lumMod val="65000"/>
                <a:lumOff val="3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004848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9640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B185D4E6-1D08-404B-9627-E173C227EB7A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467597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8931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87C41EC-7993-4253-98D7-CA91944B2598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2598057" y="3103027"/>
            <a:ext cx="6995886" cy="651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36423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0" i="0">
                <a:solidFill>
                  <a:srgbClr val="87C58F"/>
                </a:solidFill>
                <a:latin typeface="Arial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65CC27-0034-43C2-8E21-5A68676B54BF}" type="datetime1">
              <a:rPr lang="en-US" smtClean="0"/>
              <a:t>12/15/20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BEBEBE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pc="-20" dirty="0"/>
              <a:t>Page </a:t>
            </a:r>
            <a:r>
              <a:rPr lang="en-US" spc="-30" dirty="0"/>
              <a:t>|</a:t>
            </a:r>
            <a:r>
              <a:rPr lang="en-US" spc="150" dirty="0"/>
              <a:t> </a:t>
            </a:r>
            <a:fld id="{81D60167-4931-47E6-BA6A-407CBD079E47}" type="slidenum">
              <a:rPr spc="-30" smtClean="0"/>
              <a:t>‹#›</a:t>
            </a:fld>
            <a:endParaRPr spc="-30" dirty="0"/>
          </a:p>
        </p:txBody>
      </p:sp>
    </p:spTree>
    <p:extLst>
      <p:ext uri="{BB962C8B-B14F-4D97-AF65-F5344CB8AC3E}">
        <p14:creationId xmlns:p14="http://schemas.microsoft.com/office/powerpoint/2010/main" val="9908139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7626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132483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6418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1" name="Group 20">
            <a:extLst>
              <a:ext uri="{FF2B5EF4-FFF2-40B4-BE49-F238E27FC236}">
                <a16:creationId xmlns:a16="http://schemas.microsoft.com/office/drawing/2014/main" id="{ABE20079-317D-4FF6-9684-AA9B0F2E05B7}"/>
              </a:ext>
            </a:extLst>
          </p:cNvPr>
          <p:cNvGrpSpPr/>
          <p:nvPr userDrawn="1"/>
        </p:nvGrpSpPr>
        <p:grpSpPr bwMode="ltGray">
          <a:xfrm>
            <a:off x="-15898" y="-12038"/>
            <a:ext cx="12207898" cy="6870038"/>
            <a:chOff x="-15898" y="-12038"/>
            <a:chExt cx="12207898" cy="6870038"/>
          </a:xfrm>
        </p:grpSpPr>
        <p:pic>
          <p:nvPicPr>
            <p:cNvPr id="22" name="Picture 65" descr="About">
              <a:extLst>
                <a:ext uri="{FF2B5EF4-FFF2-40B4-BE49-F238E27FC236}">
                  <a16:creationId xmlns:a16="http://schemas.microsoft.com/office/drawing/2014/main" id="{957E44BD-EE8D-4695-ABA2-0753259E916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886" r="5521"/>
            <a:stretch/>
          </p:blipFill>
          <p:spPr bwMode="ltGray">
            <a:xfrm>
              <a:off x="-15898" y="0"/>
              <a:ext cx="12207898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516671B-FB20-4F1D-BBC2-8B2B6B9CFB5B}"/>
                </a:ext>
              </a:extLst>
            </p:cNvPr>
            <p:cNvSpPr/>
            <p:nvPr/>
          </p:nvSpPr>
          <p:spPr bwMode="ltGray">
            <a:xfrm>
              <a:off x="-15898" y="0"/>
              <a:ext cx="12207898" cy="6858000"/>
            </a:xfrm>
            <a:prstGeom prst="rect">
              <a:avLst/>
            </a:prstGeom>
            <a:gradFill flip="none" rotWithShape="1">
              <a:gsLst>
                <a:gs pos="18000">
                  <a:srgbClr val="3F6B39">
                    <a:alpha val="86000"/>
                  </a:srgbClr>
                </a:gs>
                <a:gs pos="100000">
                  <a:srgbClr val="3F6B39">
                    <a:alpha val="35000"/>
                  </a:srgbClr>
                </a:gs>
              </a:gsLst>
              <a:lin ang="0" scaled="1"/>
              <a:tileRect/>
            </a:gradFill>
            <a:ln w="9525" cap="flat" cmpd="sng" algn="ctr">
              <a:solidFill>
                <a:srgbClr val="3F6B39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Group 1">
              <a:extLst>
                <a:ext uri="{FF2B5EF4-FFF2-40B4-BE49-F238E27FC236}">
                  <a16:creationId xmlns:a16="http://schemas.microsoft.com/office/drawing/2014/main" id="{BEA29757-EEB9-441E-8E05-A7FC79B582B0}"/>
                </a:ext>
              </a:extLst>
            </p:cNvPr>
            <p:cNvSpPr>
              <a:spLocks/>
            </p:cNvSpPr>
            <p:nvPr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FFFFFF">
                <a:alpha val="36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Freeform 34">
              <a:extLst>
                <a:ext uri="{FF2B5EF4-FFF2-40B4-BE49-F238E27FC236}">
                  <a16:creationId xmlns:a16="http://schemas.microsoft.com/office/drawing/2014/main" id="{AED4654A-20C8-4FAF-86B1-666B50010C77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7057081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" name="Freeform 35">
              <a:extLst>
                <a:ext uri="{FF2B5EF4-FFF2-40B4-BE49-F238E27FC236}">
                  <a16:creationId xmlns:a16="http://schemas.microsoft.com/office/drawing/2014/main" id="{4E5FF1D3-8BF9-472B-BD24-2F2AFB803D13}"/>
                </a:ext>
              </a:extLst>
            </p:cNvPr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" name="doc id">
              <a:extLst>
                <a:ext uri="{FF2B5EF4-FFF2-40B4-BE49-F238E27FC236}">
                  <a16:creationId xmlns:a16="http://schemas.microsoft.com/office/drawing/2014/main" id="{D32DC00C-C6B9-4638-A668-8F4F2A907D3B}"/>
                </a:ext>
              </a:extLst>
            </p:cNvPr>
            <p:cNvSpPr>
              <a:spLocks noChangeArrowheads="1"/>
            </p:cNvSpPr>
            <p:nvPr/>
          </p:nvSpPr>
          <p:spPr bwMode="ltGray">
            <a:xfrm>
              <a:off x="11064591" y="51833"/>
              <a:ext cx="894152" cy="1247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marL="0" marR="0" lvl="0" indent="0" algn="r" defTabSz="9135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16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F80159D0-6749-4DB5-9263-0C2BD85849B0}"/>
                </a:ext>
              </a:extLst>
            </p:cNvPr>
            <p:cNvSpPr>
              <a:spLocks/>
            </p:cNvSpPr>
            <p:nvPr/>
          </p:nvSpPr>
          <p:spPr bwMode="ltGray">
            <a:xfrm>
              <a:off x="10427596" y="1569403"/>
              <a:ext cx="1764404" cy="3834145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1 h 5403547"/>
                <a:gd name="connsiteX3" fmla="*/ 23964 w 2519830"/>
                <a:gd name="connsiteY3" fmla="*/ 1 h 5403547"/>
                <a:gd name="connsiteX4" fmla="*/ 755426 w 2519830"/>
                <a:gd name="connsiteY4" fmla="*/ 1569402 h 5403547"/>
                <a:gd name="connsiteX5" fmla="*/ 2519830 w 2519830"/>
                <a:gd name="connsiteY5" fmla="*/ 2390793 h 5403547"/>
                <a:gd name="connsiteX6" fmla="*/ 2519830 w 2519830"/>
                <a:gd name="connsiteY6" fmla="*/ 5403547 h 5403547"/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3964 w 2519830"/>
                <a:gd name="connsiteY2" fmla="*/ 1 h 5403547"/>
                <a:gd name="connsiteX3" fmla="*/ 755426 w 2519830"/>
                <a:gd name="connsiteY3" fmla="*/ 1569402 h 5403547"/>
                <a:gd name="connsiteX4" fmla="*/ 2519830 w 2519830"/>
                <a:gd name="connsiteY4" fmla="*/ 2390793 h 5403547"/>
                <a:gd name="connsiteX5" fmla="*/ 2519830 w 2519830"/>
                <a:gd name="connsiteY5" fmla="*/ 5403547 h 5403547"/>
                <a:gd name="connsiteX6" fmla="*/ 0 w 2519830"/>
                <a:gd name="connsiteY6" fmla="*/ 0 h 5403547"/>
                <a:gd name="connsiteX0" fmla="*/ 0 w 2519830"/>
                <a:gd name="connsiteY0" fmla="*/ 0 h 5403547"/>
                <a:gd name="connsiteX1" fmla="*/ 23964 w 2519830"/>
                <a:gd name="connsiteY1" fmla="*/ 1 h 5403547"/>
                <a:gd name="connsiteX2" fmla="*/ 755426 w 2519830"/>
                <a:gd name="connsiteY2" fmla="*/ 1569402 h 5403547"/>
                <a:gd name="connsiteX3" fmla="*/ 2519830 w 2519830"/>
                <a:gd name="connsiteY3" fmla="*/ 2390793 h 5403547"/>
                <a:gd name="connsiteX4" fmla="*/ 2519830 w 2519830"/>
                <a:gd name="connsiteY4" fmla="*/ 5403547 h 5403547"/>
                <a:gd name="connsiteX5" fmla="*/ 0 w 2519830"/>
                <a:gd name="connsiteY5" fmla="*/ 0 h 5403547"/>
                <a:gd name="connsiteX0" fmla="*/ 2495866 w 2495866"/>
                <a:gd name="connsiteY0" fmla="*/ 5403546 h 5403546"/>
                <a:gd name="connsiteX1" fmla="*/ 0 w 2495866"/>
                <a:gd name="connsiteY1" fmla="*/ 0 h 5403546"/>
                <a:gd name="connsiteX2" fmla="*/ 731462 w 2495866"/>
                <a:gd name="connsiteY2" fmla="*/ 1569401 h 5403546"/>
                <a:gd name="connsiteX3" fmla="*/ 2495866 w 2495866"/>
                <a:gd name="connsiteY3" fmla="*/ 2390792 h 5403546"/>
                <a:gd name="connsiteX4" fmla="*/ 2495866 w 2495866"/>
                <a:gd name="connsiteY4" fmla="*/ 5403546 h 5403546"/>
                <a:gd name="connsiteX0" fmla="*/ 1764404 w 1764404"/>
                <a:gd name="connsiteY0" fmla="*/ 3834145 h 3834145"/>
                <a:gd name="connsiteX1" fmla="*/ 0 w 1764404"/>
                <a:gd name="connsiteY1" fmla="*/ 0 h 3834145"/>
                <a:gd name="connsiteX2" fmla="*/ 1764404 w 1764404"/>
                <a:gd name="connsiteY2" fmla="*/ 821391 h 3834145"/>
                <a:gd name="connsiteX3" fmla="*/ 1764404 w 1764404"/>
                <a:gd name="connsiteY3" fmla="*/ 3834145 h 3834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64404" h="3834145">
                  <a:moveTo>
                    <a:pt x="1764404" y="3834145"/>
                  </a:moveTo>
                  <a:lnTo>
                    <a:pt x="0" y="0"/>
                  </a:lnTo>
                  <a:lnTo>
                    <a:pt x="1764404" y="821391"/>
                  </a:lnTo>
                  <a:lnTo>
                    <a:pt x="1764404" y="3834145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9" name="Picture 12">
              <a:extLst>
                <a:ext uri="{FF2B5EF4-FFF2-40B4-BE49-F238E27FC236}">
                  <a16:creationId xmlns:a16="http://schemas.microsoft.com/office/drawing/2014/main" id="{59BA4928-D1F4-4469-8793-2852B2E49AE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 bwMode="ltGray">
            <a:xfrm>
              <a:off x="611441" y="542924"/>
              <a:ext cx="2688569" cy="841321"/>
            </a:xfrm>
            <a:prstGeom prst="rect">
              <a:avLst/>
            </a:prstGeom>
          </p:spPr>
        </p:pic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4F280B4-D75B-46AB-A268-90910F535ED6}"/>
                </a:ext>
              </a:extLst>
            </p:cNvPr>
            <p:cNvSpPr>
              <a:spLocks/>
            </p:cNvSpPr>
            <p:nvPr/>
          </p:nvSpPr>
          <p:spPr bwMode="ltGray">
            <a:xfrm>
              <a:off x="6443063" y="-12038"/>
              <a:ext cx="5474706" cy="4825984"/>
            </a:xfrm>
            <a:custGeom>
              <a:avLst/>
              <a:gdLst>
                <a:gd name="connsiteX0" fmla="*/ 0 w 5474706"/>
                <a:gd name="connsiteY0" fmla="*/ 0 h 4825984"/>
                <a:gd name="connsiteX1" fmla="*/ 610810 w 5474706"/>
                <a:gd name="connsiteY1" fmla="*/ 0 h 4825984"/>
                <a:gd name="connsiteX2" fmla="*/ 3981656 w 5474706"/>
                <a:gd name="connsiteY2" fmla="*/ 1569869 h 4825984"/>
                <a:gd name="connsiteX3" fmla="*/ 3982923 w 5474706"/>
                <a:gd name="connsiteY3" fmla="*/ 1572586 h 4825984"/>
                <a:gd name="connsiteX4" fmla="*/ 3976086 w 5474706"/>
                <a:gd name="connsiteY4" fmla="*/ 1569403 h 4825984"/>
                <a:gd name="connsiteX5" fmla="*/ 5474706 w 5474706"/>
                <a:gd name="connsiteY5" fmla="*/ 4825984 h 4825984"/>
                <a:gd name="connsiteX6" fmla="*/ 1349206 w 5474706"/>
                <a:gd name="connsiteY6" fmla="*/ 2911232 h 4825984"/>
                <a:gd name="connsiteX7" fmla="*/ 510415 w 5474706"/>
                <a:gd name="connsiteY7" fmla="*/ 1101566 h 4825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474706" h="4825984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3982923" y="1572586"/>
                  </a:lnTo>
                  <a:lnTo>
                    <a:pt x="3976086" y="1569403"/>
                  </a:lnTo>
                  <a:lnTo>
                    <a:pt x="5474706" y="4825984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6192267"/>
            <a:ext cx="683583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5774658"/>
            <a:ext cx="683583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2" y="2210324"/>
            <a:ext cx="6835830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535356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508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:a16="http://schemas.microsoft.com/office/drawing/2014/main" id="{2BCB1AD8-BE24-4DE7-B8F8-3F2BF3879474}"/>
              </a:ext>
            </a:extLst>
          </p:cNvPr>
          <p:cNvGrpSpPr/>
          <p:nvPr userDrawn="1"/>
        </p:nvGrpSpPr>
        <p:grpSpPr bwMode="ltGray">
          <a:xfrm>
            <a:off x="-15898" y="-12038"/>
            <a:ext cx="12207898" cy="6870038"/>
            <a:chOff x="-15898" y="-12038"/>
            <a:chExt cx="12207898" cy="6870038"/>
          </a:xfrm>
        </p:grpSpPr>
        <p:pic>
          <p:nvPicPr>
            <p:cNvPr id="7" name="Picture 65" descr="About">
              <a:extLst>
                <a:ext uri="{FF2B5EF4-FFF2-40B4-BE49-F238E27FC236}">
                  <a16:creationId xmlns:a16="http://schemas.microsoft.com/office/drawing/2014/main" id="{7FE511F0-A4F5-4357-826B-B0AA3FF3E62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886" r="5521"/>
            <a:stretch/>
          </p:blipFill>
          <p:spPr bwMode="ltGray">
            <a:xfrm>
              <a:off x="-15898" y="0"/>
              <a:ext cx="12207898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161EC77-5142-4B41-A3DC-755003E75C80}"/>
                </a:ext>
              </a:extLst>
            </p:cNvPr>
            <p:cNvSpPr/>
            <p:nvPr/>
          </p:nvSpPr>
          <p:spPr bwMode="ltGray">
            <a:xfrm>
              <a:off x="-15898" y="0"/>
              <a:ext cx="12207898" cy="6858000"/>
            </a:xfrm>
            <a:prstGeom prst="rect">
              <a:avLst/>
            </a:prstGeom>
            <a:gradFill flip="none" rotWithShape="1">
              <a:gsLst>
                <a:gs pos="18000">
                  <a:srgbClr val="3F6B39">
                    <a:alpha val="86000"/>
                  </a:srgbClr>
                </a:gs>
                <a:gs pos="100000">
                  <a:srgbClr val="3F6B39">
                    <a:alpha val="35000"/>
                  </a:srgbClr>
                </a:gs>
              </a:gsLst>
              <a:lin ang="0" scaled="1"/>
              <a:tileRect/>
            </a:gradFill>
            <a:ln w="9525" cap="flat" cmpd="sng" algn="ctr">
              <a:solidFill>
                <a:srgbClr val="3F6B39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9" name="Group 1">
              <a:extLst>
                <a:ext uri="{FF2B5EF4-FFF2-40B4-BE49-F238E27FC236}">
                  <a16:creationId xmlns:a16="http://schemas.microsoft.com/office/drawing/2014/main" id="{1278366A-85FE-49D0-953D-137285A1CA21}"/>
                </a:ext>
              </a:extLst>
            </p:cNvPr>
            <p:cNvSpPr>
              <a:spLocks/>
            </p:cNvSpPr>
            <p:nvPr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FFFFFF">
                <a:alpha val="36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Freeform 34">
              <a:extLst>
                <a:ext uri="{FF2B5EF4-FFF2-40B4-BE49-F238E27FC236}">
                  <a16:creationId xmlns:a16="http://schemas.microsoft.com/office/drawing/2014/main" id="{3F0EFE70-7405-4CD0-BB8B-61FFC3FBB78A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7057081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Freeform 35">
              <a:extLst>
                <a:ext uri="{FF2B5EF4-FFF2-40B4-BE49-F238E27FC236}">
                  <a16:creationId xmlns:a16="http://schemas.microsoft.com/office/drawing/2014/main" id="{9CD899AB-EB02-4EB0-8646-E82A25EFD6CD}"/>
                </a:ext>
              </a:extLst>
            </p:cNvPr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doc id">
              <a:extLst>
                <a:ext uri="{FF2B5EF4-FFF2-40B4-BE49-F238E27FC236}">
                  <a16:creationId xmlns:a16="http://schemas.microsoft.com/office/drawing/2014/main" id="{BED65756-3D8B-422F-A124-251500423CE4}"/>
                </a:ext>
              </a:extLst>
            </p:cNvPr>
            <p:cNvSpPr>
              <a:spLocks noChangeArrowheads="1"/>
            </p:cNvSpPr>
            <p:nvPr/>
          </p:nvSpPr>
          <p:spPr bwMode="ltGray">
            <a:xfrm>
              <a:off x="11064591" y="51833"/>
              <a:ext cx="894152" cy="1247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marL="0" marR="0" lvl="0" indent="0" algn="r" defTabSz="9135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16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8469D5B-93E7-4CF1-9E2E-855DDAABA549}"/>
                </a:ext>
              </a:extLst>
            </p:cNvPr>
            <p:cNvSpPr>
              <a:spLocks/>
            </p:cNvSpPr>
            <p:nvPr/>
          </p:nvSpPr>
          <p:spPr bwMode="ltGray">
            <a:xfrm>
              <a:off x="10427596" y="1569403"/>
              <a:ext cx="1764404" cy="3834145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1 h 5403547"/>
                <a:gd name="connsiteX3" fmla="*/ 23964 w 2519830"/>
                <a:gd name="connsiteY3" fmla="*/ 1 h 5403547"/>
                <a:gd name="connsiteX4" fmla="*/ 755426 w 2519830"/>
                <a:gd name="connsiteY4" fmla="*/ 1569402 h 5403547"/>
                <a:gd name="connsiteX5" fmla="*/ 2519830 w 2519830"/>
                <a:gd name="connsiteY5" fmla="*/ 2390793 h 5403547"/>
                <a:gd name="connsiteX6" fmla="*/ 2519830 w 2519830"/>
                <a:gd name="connsiteY6" fmla="*/ 5403547 h 5403547"/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3964 w 2519830"/>
                <a:gd name="connsiteY2" fmla="*/ 1 h 5403547"/>
                <a:gd name="connsiteX3" fmla="*/ 755426 w 2519830"/>
                <a:gd name="connsiteY3" fmla="*/ 1569402 h 5403547"/>
                <a:gd name="connsiteX4" fmla="*/ 2519830 w 2519830"/>
                <a:gd name="connsiteY4" fmla="*/ 2390793 h 5403547"/>
                <a:gd name="connsiteX5" fmla="*/ 2519830 w 2519830"/>
                <a:gd name="connsiteY5" fmla="*/ 5403547 h 5403547"/>
                <a:gd name="connsiteX6" fmla="*/ 0 w 2519830"/>
                <a:gd name="connsiteY6" fmla="*/ 0 h 5403547"/>
                <a:gd name="connsiteX0" fmla="*/ 0 w 2519830"/>
                <a:gd name="connsiteY0" fmla="*/ 0 h 5403547"/>
                <a:gd name="connsiteX1" fmla="*/ 23964 w 2519830"/>
                <a:gd name="connsiteY1" fmla="*/ 1 h 5403547"/>
                <a:gd name="connsiteX2" fmla="*/ 755426 w 2519830"/>
                <a:gd name="connsiteY2" fmla="*/ 1569402 h 5403547"/>
                <a:gd name="connsiteX3" fmla="*/ 2519830 w 2519830"/>
                <a:gd name="connsiteY3" fmla="*/ 2390793 h 5403547"/>
                <a:gd name="connsiteX4" fmla="*/ 2519830 w 2519830"/>
                <a:gd name="connsiteY4" fmla="*/ 5403547 h 5403547"/>
                <a:gd name="connsiteX5" fmla="*/ 0 w 2519830"/>
                <a:gd name="connsiteY5" fmla="*/ 0 h 5403547"/>
                <a:gd name="connsiteX0" fmla="*/ 2495866 w 2495866"/>
                <a:gd name="connsiteY0" fmla="*/ 5403546 h 5403546"/>
                <a:gd name="connsiteX1" fmla="*/ 0 w 2495866"/>
                <a:gd name="connsiteY1" fmla="*/ 0 h 5403546"/>
                <a:gd name="connsiteX2" fmla="*/ 731462 w 2495866"/>
                <a:gd name="connsiteY2" fmla="*/ 1569401 h 5403546"/>
                <a:gd name="connsiteX3" fmla="*/ 2495866 w 2495866"/>
                <a:gd name="connsiteY3" fmla="*/ 2390792 h 5403546"/>
                <a:gd name="connsiteX4" fmla="*/ 2495866 w 2495866"/>
                <a:gd name="connsiteY4" fmla="*/ 5403546 h 5403546"/>
                <a:gd name="connsiteX0" fmla="*/ 1764404 w 1764404"/>
                <a:gd name="connsiteY0" fmla="*/ 3834145 h 3834145"/>
                <a:gd name="connsiteX1" fmla="*/ 0 w 1764404"/>
                <a:gd name="connsiteY1" fmla="*/ 0 h 3834145"/>
                <a:gd name="connsiteX2" fmla="*/ 1764404 w 1764404"/>
                <a:gd name="connsiteY2" fmla="*/ 821391 h 3834145"/>
                <a:gd name="connsiteX3" fmla="*/ 1764404 w 1764404"/>
                <a:gd name="connsiteY3" fmla="*/ 3834145 h 3834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64404" h="3834145">
                  <a:moveTo>
                    <a:pt x="1764404" y="3834145"/>
                  </a:moveTo>
                  <a:lnTo>
                    <a:pt x="0" y="0"/>
                  </a:lnTo>
                  <a:lnTo>
                    <a:pt x="1764404" y="821391"/>
                  </a:lnTo>
                  <a:lnTo>
                    <a:pt x="1764404" y="3834145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6" name="Picture 12">
              <a:extLst>
                <a:ext uri="{FF2B5EF4-FFF2-40B4-BE49-F238E27FC236}">
                  <a16:creationId xmlns:a16="http://schemas.microsoft.com/office/drawing/2014/main" id="{C9778815-DD21-4210-A0D3-874C9A42704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 bwMode="ltGray">
            <a:xfrm>
              <a:off x="611441" y="542924"/>
              <a:ext cx="2688569" cy="841321"/>
            </a:xfrm>
            <a:prstGeom prst="rect">
              <a:avLst/>
            </a:prstGeom>
          </p:spPr>
        </p:pic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94671693-60A6-4BF0-8765-810461097C96}"/>
                </a:ext>
              </a:extLst>
            </p:cNvPr>
            <p:cNvSpPr>
              <a:spLocks/>
            </p:cNvSpPr>
            <p:nvPr/>
          </p:nvSpPr>
          <p:spPr bwMode="ltGray">
            <a:xfrm>
              <a:off x="6443063" y="-12038"/>
              <a:ext cx="5474706" cy="4825984"/>
            </a:xfrm>
            <a:custGeom>
              <a:avLst/>
              <a:gdLst>
                <a:gd name="connsiteX0" fmla="*/ 0 w 5474706"/>
                <a:gd name="connsiteY0" fmla="*/ 0 h 4825984"/>
                <a:gd name="connsiteX1" fmla="*/ 610810 w 5474706"/>
                <a:gd name="connsiteY1" fmla="*/ 0 h 4825984"/>
                <a:gd name="connsiteX2" fmla="*/ 3981656 w 5474706"/>
                <a:gd name="connsiteY2" fmla="*/ 1569869 h 4825984"/>
                <a:gd name="connsiteX3" fmla="*/ 3982923 w 5474706"/>
                <a:gd name="connsiteY3" fmla="*/ 1572586 h 4825984"/>
                <a:gd name="connsiteX4" fmla="*/ 3976086 w 5474706"/>
                <a:gd name="connsiteY4" fmla="*/ 1569403 h 4825984"/>
                <a:gd name="connsiteX5" fmla="*/ 5474706 w 5474706"/>
                <a:gd name="connsiteY5" fmla="*/ 4825984 h 4825984"/>
                <a:gd name="connsiteX6" fmla="*/ 1349206 w 5474706"/>
                <a:gd name="connsiteY6" fmla="*/ 2911232 h 4825984"/>
                <a:gd name="connsiteX7" fmla="*/ 510415 w 5474706"/>
                <a:gd name="connsiteY7" fmla="*/ 1101566 h 4825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474706" h="4825984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3982923" y="1572586"/>
                  </a:lnTo>
                  <a:lnTo>
                    <a:pt x="3976086" y="1569403"/>
                  </a:lnTo>
                  <a:lnTo>
                    <a:pt x="5474706" y="4825984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9" name="Documenttype">
            <a:extLst>
              <a:ext uri="{FF2B5EF4-FFF2-40B4-BE49-F238E27FC236}">
                <a16:creationId xmlns:a16="http://schemas.microsoft.com/office/drawing/2014/main" id="{7590D73B-A6D0-4935-AD81-8142A8AFEE3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550800" y="6192267"/>
            <a:ext cx="683583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20" name="Subtitle">
            <a:extLst>
              <a:ext uri="{FF2B5EF4-FFF2-40B4-BE49-F238E27FC236}">
                <a16:creationId xmlns:a16="http://schemas.microsoft.com/office/drawing/2014/main" id="{6208DDAD-6790-4DEE-BC4E-21410F90F089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1941" y="5774658"/>
            <a:ext cx="683583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776F6699-7A61-4508-8809-872D8E8E0EA1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1942" y="2210324"/>
            <a:ext cx="6835830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785942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4828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D47804A5-610F-459E-875F-60857CBD6FAB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205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7626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id="{92C269B7-8CC9-12AD-22BA-C0833C0559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327626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id="{92C269B7-8CC9-12AD-22BA-C0833C0559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EB1C1276-7C36-4B90-E2FA-9DDE37A58B08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482B7AD4-3A20-417A-CE32-E74B55061B96}"/>
              </a:ext>
            </a:extLst>
          </p:cNvPr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83ACE5CF-47AE-4813-D59C-1AC343E48991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191687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764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79744E48-04EF-4FA7-AF06-13E2E4A9BC5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3E8FEB9C-6784-4537-A3A4-FBCC608D7F9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36880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9295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9A5BC72-B58B-4282-B0EA-EE79CC589D7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D22CB34C-37DC-432E-A8CE-747AC8EF1174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9744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43726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8064E9-3153-4628-A7D5-81F8DEADB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83FAD0D1-09DE-42C2-8479-DCB9493F9B46}"/>
              </a:ext>
            </a:extLst>
          </p:cNvPr>
          <p:cNvSpPr/>
          <p:nvPr userDrawn="1"/>
        </p:nvSpPr>
        <p:spPr bwMode="ltGray">
          <a:xfrm>
            <a:off x="0" y="5819792"/>
            <a:ext cx="12191999" cy="1038208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A981030-DF6F-46EC-AA9C-451D8C63B1B3}"/>
              </a:ext>
            </a:extLst>
          </p:cNvPr>
          <p:cNvGrpSpPr/>
          <p:nvPr userDrawn="1"/>
        </p:nvGrpSpPr>
        <p:grpSpPr bwMode="ltGray">
          <a:xfrm>
            <a:off x="4591537" y="0"/>
            <a:ext cx="7600463" cy="5403547"/>
            <a:chOff x="4591537" y="0"/>
            <a:chExt cx="7600463" cy="5403547"/>
          </a:xfrm>
        </p:grpSpPr>
        <p:sp>
          <p:nvSpPr>
            <p:cNvPr id="13" name="Freeform 31">
              <a:extLst>
                <a:ext uri="{FF2B5EF4-FFF2-40B4-BE49-F238E27FC236}">
                  <a16:creationId xmlns:a16="http://schemas.microsoft.com/office/drawing/2014/main" id="{FC204ED4-128C-4092-80A7-3BF276D62593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672169" y="0"/>
              <a:ext cx="2519830" cy="5403547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5403547 h 5403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19830" h="5403547">
                  <a:moveTo>
                    <a:pt x="0" y="0"/>
                  </a:moveTo>
                  <a:lnTo>
                    <a:pt x="2519830" y="0"/>
                  </a:lnTo>
                  <a:lnTo>
                    <a:pt x="2519830" y="5403547"/>
                  </a:lnTo>
                  <a:close/>
                </a:path>
              </a:pathLst>
            </a:custGeom>
            <a:solidFill>
              <a:srgbClr val="AAD3A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14" name="Freeform 32">
              <a:extLst>
                <a:ext uri="{FF2B5EF4-FFF2-40B4-BE49-F238E27FC236}">
                  <a16:creationId xmlns:a16="http://schemas.microsoft.com/office/drawing/2014/main" id="{EFBEB147-9868-41C2-BBAF-B359D1F2D31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E7F2E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15" name="Freeform 33">
              <a:extLst>
                <a:ext uri="{FF2B5EF4-FFF2-40B4-BE49-F238E27FC236}">
                  <a16:creationId xmlns:a16="http://schemas.microsoft.com/office/drawing/2014/main" id="{5EF34EEA-27D0-41C5-B8E1-AB97CA3246C2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6445332" y="0"/>
              <a:ext cx="5507233" cy="4841081"/>
            </a:xfrm>
            <a:custGeom>
              <a:avLst/>
              <a:gdLst>
                <a:gd name="connsiteX0" fmla="*/ 0 w 5507233"/>
                <a:gd name="connsiteY0" fmla="*/ 0 h 4841081"/>
                <a:gd name="connsiteX1" fmla="*/ 610810 w 5507233"/>
                <a:gd name="connsiteY1" fmla="*/ 0 h 4841081"/>
                <a:gd name="connsiteX2" fmla="*/ 3981656 w 5507233"/>
                <a:gd name="connsiteY2" fmla="*/ 1569869 h 4841081"/>
                <a:gd name="connsiteX3" fmla="*/ 4665678 w 5507233"/>
                <a:gd name="connsiteY3" fmla="*/ 3036941 h 4841081"/>
                <a:gd name="connsiteX4" fmla="*/ 5507233 w 5507233"/>
                <a:gd name="connsiteY4" fmla="*/ 4841081 h 4841081"/>
                <a:gd name="connsiteX5" fmla="*/ 1349206 w 5507233"/>
                <a:gd name="connsiteY5" fmla="*/ 2911232 h 4841081"/>
                <a:gd name="connsiteX6" fmla="*/ 510415 w 5507233"/>
                <a:gd name="connsiteY6" fmla="*/ 1101566 h 4841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07233" h="4841081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4665678" y="3036941"/>
                  </a:lnTo>
                  <a:lnTo>
                    <a:pt x="5507233" y="4841081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C1DEC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16" name="Freeform 34">
              <a:extLst>
                <a:ext uri="{FF2B5EF4-FFF2-40B4-BE49-F238E27FC236}">
                  <a16:creationId xmlns:a16="http://schemas.microsoft.com/office/drawing/2014/main" id="{305C7708-781D-4DCC-9792-C108E447517C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7057081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8AC5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17" name="Freeform 35">
              <a:extLst>
                <a:ext uri="{FF2B5EF4-FFF2-40B4-BE49-F238E27FC236}">
                  <a16:creationId xmlns:a16="http://schemas.microsoft.com/office/drawing/2014/main" id="{F277ACC7-F94B-4DA2-90B8-46FEF64AD18F}"/>
                </a:ext>
              </a:extLst>
            </p:cNvPr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CEE5C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14055BC4-CE1F-4873-8D4F-3AC91BBB6FA1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ltGray">
          <a:xfrm>
            <a:off x="611441" y="542924"/>
            <a:ext cx="2688569" cy="841321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FCABF2-1291-4CAB-A39C-0FDD2FD8A1F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8F89071A-FCD4-4931-B959-81108D770B1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91CDB4B3-3114-44F6-AD2C-194A932AA26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554736" y="2561414"/>
            <a:ext cx="6760464" cy="1354217"/>
          </a:xfrm>
        </p:spPr>
        <p:txBody>
          <a:bodyPr vert="horz" anchor="b" anchorCtr="0">
            <a:no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D9BE897E-5FF0-45EC-8297-0A2EAA2F00C0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1941" y="4024099"/>
            <a:ext cx="6760464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4723775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7719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E3D51E-EFF4-4CED-8D1C-0D351D7D32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878CBA30-A797-424E-A56B-F43F015ECE9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4DFDCB49-3E02-46A1-9353-B0FEEED3405C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73471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0500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BA1E0C-CA9F-489D-B144-727B655BD1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E97B40B-AFF2-4819-823D-9831ADC756C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CCB87B95-6804-46D7-91D5-E78355EFE1A6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B455B60-8C61-4F71-BAFD-DC38773026DD}"/>
              </a:ext>
            </a:extLst>
          </p:cNvPr>
          <p:cNvPicPr>
            <a:picLocks/>
          </p:cNvPicPr>
          <p:nvPr userDrawn="1"/>
        </p:nvPicPr>
        <p:blipFill>
          <a:blip r:embed="rId12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42148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3593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A1A46-CC63-4D80-904D-B75922926F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solidFill>
                  <a:schemeClr val="bg2"/>
                </a:solidFill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635D98B-97DC-4A80-82A3-A8B3C701B73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46557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579EBDD9-E10C-4B21-9AF0-5A0E323D0559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F82FCC0-1920-4FD4-AC60-4462FFE896EA}"/>
              </a:ext>
            </a:extLst>
          </p:cNvPr>
          <p:cNvPicPr>
            <a:picLocks/>
          </p:cNvPicPr>
          <p:nvPr userDrawn="1"/>
        </p:nvPicPr>
        <p:blipFill>
          <a:blip r:embed="rId12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2377038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6283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5065776" cy="384721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solidFill>
                  <a:schemeClr val="bg2"/>
                </a:solidFill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70EC1EC4-B8BC-4D9A-B66A-A8C4493B6DB4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80121B7-700B-4723-A9DC-53DBE1383A54}"/>
              </a:ext>
            </a:extLst>
          </p:cNvPr>
          <p:cNvPicPr>
            <a:picLocks/>
          </p:cNvPicPr>
          <p:nvPr userDrawn="1"/>
        </p:nvPicPr>
        <p:blipFill>
          <a:blip r:embed="rId12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817265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4660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384721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0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77661"/>
            <a:ext cx="6967729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solidFill>
                  <a:schemeClr val="bg2"/>
                </a:solidFill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B514F2AC-E093-4146-9C34-6DE7921321FC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1AF7C2F-4368-40B9-82B5-5465B14FBC23}"/>
              </a:ext>
            </a:extLst>
          </p:cNvPr>
          <p:cNvPicPr>
            <a:picLocks/>
          </p:cNvPicPr>
          <p:nvPr userDrawn="1"/>
        </p:nvPicPr>
        <p:blipFill>
          <a:blip r:embed="rId12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0506050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51094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7918704" cy="384721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0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solidFill>
                  <a:schemeClr val="bg2"/>
                </a:solidFill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noProof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E0134ED8-19D3-4F7B-AD79-4BD4C826B6D5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BF8D81E-1CCF-4032-9BB6-A66BCE6600C8}"/>
              </a:ext>
            </a:extLst>
          </p:cNvPr>
          <p:cNvPicPr>
            <a:picLocks/>
          </p:cNvPicPr>
          <p:nvPr userDrawn="1"/>
        </p:nvPicPr>
        <p:blipFill>
          <a:blip r:embed="rId12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1354932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04494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5065776" cy="384721"/>
          </a:xfrm>
        </p:spPr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solidFill>
                  <a:schemeClr val="bg2"/>
                </a:solidFill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094E9BA4-7901-4294-9B46-C5E7BDEE1ED1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000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6A5E6CC-C01A-4949-A946-485A1DCC437D}"/>
              </a:ext>
            </a:extLst>
          </p:cNvPr>
          <p:cNvPicPr>
            <a:picLocks/>
          </p:cNvPicPr>
          <p:nvPr userDrawn="1"/>
        </p:nvPicPr>
        <p:blipFill>
          <a:blip r:embed="rId1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219581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0611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436BD0A4-69D3-402B-A9A9-C50227B15FE2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612001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2618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477661"/>
            <a:ext cx="6967729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solidFill>
                  <a:schemeClr val="bg2"/>
                </a:solidFill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465576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 rtl="0"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A2A8C6A2-26B8-46D0-B6A4-4D8C91B2772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63DE0353-99BC-4322-9D9F-E3C1556B87A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4" y="3659644"/>
            <a:ext cx="3465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79D1C680-B332-4717-977D-1F4D6460B15C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000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879B5D1-5376-4043-A78C-D70F27A13A8E}"/>
              </a:ext>
            </a:extLst>
          </p:cNvPr>
          <p:cNvPicPr>
            <a:picLocks/>
          </p:cNvPicPr>
          <p:nvPr userDrawn="1"/>
        </p:nvPicPr>
        <p:blipFill>
          <a:blip r:embed="rId1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1236390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53613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noProof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251460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 rtl="0"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201E918A-7ADD-4595-9E5C-36C3D305CA4A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A0895B2F-2F72-4935-BC7F-BEA280D6C542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2CB06661-7315-4C49-A82C-EB1DA9CD3A2D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000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0683C08-95BA-49B7-B693-1FAC48CD08C5}"/>
              </a:ext>
            </a:extLst>
          </p:cNvPr>
          <p:cNvPicPr>
            <a:picLocks/>
          </p:cNvPicPr>
          <p:nvPr userDrawn="1"/>
        </p:nvPicPr>
        <p:blipFill>
          <a:blip r:embed="rId1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0440134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37BF69-DBBB-44FA-AA65-8999BD8B4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7155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37BF69-DBBB-44FA-AA65-8999BD8B4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40E0BC-D285-4CB0-BC8F-8E2C57BF2A2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5171"/>
            <a:ext cx="11082528" cy="989512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5C5F547-1B1B-411D-99AF-7DE767A71F1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AAF2C566-1236-45F8-A90D-7E5982706CE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42FA8AF-2ABD-488A-8D9D-3A0D58F1B0F3}"/>
              </a:ext>
            </a:extLst>
          </p:cNvPr>
          <p:cNvPicPr>
            <a:picLocks/>
          </p:cNvPicPr>
          <p:nvPr userDrawn="1"/>
        </p:nvPicPr>
        <p:blipFill>
          <a:blip r:embed="rId10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E01716AD-1203-4184-94A0-0CD6A08E282A}"/>
              </a:ext>
            </a:extLst>
          </p:cNvPr>
          <p:cNvGrpSpPr/>
          <p:nvPr userDrawn="1"/>
        </p:nvGrpSpPr>
        <p:grpSpPr>
          <a:xfrm>
            <a:off x="554736" y="6368464"/>
            <a:ext cx="11082528" cy="54693"/>
            <a:chOff x="554736" y="6349068"/>
            <a:chExt cx="11082528" cy="54693"/>
          </a:xfrm>
          <a:solidFill>
            <a:schemeClr val="accent1"/>
          </a:solidFill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02EC46E7-358A-49D3-8CBE-A25AF24E6203}"/>
                </a:ext>
              </a:extLst>
            </p:cNvPr>
            <p:cNvCxnSpPr/>
            <p:nvPr userDrawn="1"/>
          </p:nvCxnSpPr>
          <p:spPr bwMode="ltGray">
            <a:xfrm flipV="1">
              <a:off x="554741" y="6349072"/>
              <a:ext cx="11082523" cy="17939"/>
            </a:xfrm>
            <a:prstGeom prst="line">
              <a:avLst/>
            </a:prstGeom>
            <a:grpFill/>
            <a:ln w="6350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</p:cxn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FF3992BA-FAB7-4AD0-97E5-5CEAA68609A1}"/>
                </a:ext>
              </a:extLst>
            </p:cNvPr>
            <p:cNvSpPr/>
            <p:nvPr userDrawn="1"/>
          </p:nvSpPr>
          <p:spPr bwMode="ltGray">
            <a:xfrm>
              <a:off x="554736" y="6358042"/>
              <a:ext cx="2797733" cy="45719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B3736874-4AD7-44F9-BFB4-D94B41E5B25B}"/>
                </a:ext>
              </a:extLst>
            </p:cNvPr>
            <p:cNvSpPr/>
            <p:nvPr userDrawn="1"/>
          </p:nvSpPr>
          <p:spPr bwMode="ltGray">
            <a:xfrm>
              <a:off x="10671243" y="6349068"/>
              <a:ext cx="966017" cy="54688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5411584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D2BF5E-92A7-41C4-93AE-C72274D09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0085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D2BF5E-92A7-41C4-93AE-C72274D09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E9E206AB-587F-4AC2-9EF7-AA339899F4B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C5E0506A-BAD0-40D6-BEE9-78F4BA0D081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211107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9CF6F9-3F22-4C1D-8F1F-9500FF412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8582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9CF6F9-3F22-4C1D-8F1F-9500FF412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AD8BB23-3428-4F39-9FE1-8D416950BD2A}"/>
              </a:ext>
            </a:extLst>
          </p:cNvPr>
          <p:cNvPicPr>
            <a:picLocks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2598057" y="3103027"/>
            <a:ext cx="6995886" cy="651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660422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45928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6502844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>
          <a:xfrm>
            <a:off x="550800" y="6192267"/>
            <a:ext cx="683583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51941" y="5774658"/>
            <a:ext cx="683583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1942" y="2210324"/>
            <a:ext cx="6835830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AB0CD9-1BA9-EDB1-4A11-C080FA1DF1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76418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AB0CD9-1BA9-EDB1-4A11-C080FA1DF1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8E58E711-6B1A-A4EE-E2D3-C799159CDD51}"/>
              </a:ext>
            </a:extLst>
          </p:cNvPr>
          <p:cNvGrpSpPr/>
          <p:nvPr userDrawn="1"/>
        </p:nvGrpSpPr>
        <p:grpSpPr bwMode="ltGray">
          <a:xfrm>
            <a:off x="-15898" y="-12038"/>
            <a:ext cx="12207898" cy="6870038"/>
            <a:chOff x="-15898" y="-12038"/>
            <a:chExt cx="12207898" cy="6870038"/>
          </a:xfrm>
        </p:grpSpPr>
        <p:pic>
          <p:nvPicPr>
            <p:cNvPr id="5" name="Picture 65" descr="About">
              <a:extLst>
                <a:ext uri="{FF2B5EF4-FFF2-40B4-BE49-F238E27FC236}">
                  <a16:creationId xmlns:a16="http://schemas.microsoft.com/office/drawing/2014/main" id="{39638C46-CEE4-DDFA-19AC-84AD1A43677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886" r="5521"/>
            <a:stretch/>
          </p:blipFill>
          <p:spPr bwMode="ltGray">
            <a:xfrm>
              <a:off x="-15898" y="0"/>
              <a:ext cx="12207898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E065A19-3D68-82C7-21F4-D09B8F4E36D3}"/>
                </a:ext>
              </a:extLst>
            </p:cNvPr>
            <p:cNvSpPr/>
            <p:nvPr/>
          </p:nvSpPr>
          <p:spPr bwMode="ltGray">
            <a:xfrm>
              <a:off x="-15898" y="0"/>
              <a:ext cx="12207898" cy="6858000"/>
            </a:xfrm>
            <a:prstGeom prst="rect">
              <a:avLst/>
            </a:prstGeom>
            <a:gradFill flip="none" rotWithShape="1">
              <a:gsLst>
                <a:gs pos="18000">
                  <a:srgbClr val="3F6B39">
                    <a:alpha val="86000"/>
                  </a:srgbClr>
                </a:gs>
                <a:gs pos="100000">
                  <a:srgbClr val="3F6B39">
                    <a:alpha val="35000"/>
                  </a:srgbClr>
                </a:gs>
              </a:gsLst>
              <a:lin ang="0" scaled="1"/>
              <a:tileRect/>
            </a:gradFill>
            <a:ln w="9525" cap="flat" cmpd="sng" algn="ctr">
              <a:solidFill>
                <a:srgbClr val="3F6B39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Group 1">
              <a:extLst>
                <a:ext uri="{FF2B5EF4-FFF2-40B4-BE49-F238E27FC236}">
                  <a16:creationId xmlns:a16="http://schemas.microsoft.com/office/drawing/2014/main" id="{C90B576D-2FB6-20CB-8320-2D5FE8639A90}"/>
                </a:ext>
              </a:extLst>
            </p:cNvPr>
            <p:cNvSpPr>
              <a:spLocks/>
            </p:cNvSpPr>
            <p:nvPr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FFFFFF">
                <a:alpha val="36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9" name="Freeform 34">
              <a:extLst>
                <a:ext uri="{FF2B5EF4-FFF2-40B4-BE49-F238E27FC236}">
                  <a16:creationId xmlns:a16="http://schemas.microsoft.com/office/drawing/2014/main" id="{8A49AE16-D8A4-3006-BAF3-E7EBDAAB51B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7057081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Freeform 35">
              <a:extLst>
                <a:ext uri="{FF2B5EF4-FFF2-40B4-BE49-F238E27FC236}">
                  <a16:creationId xmlns:a16="http://schemas.microsoft.com/office/drawing/2014/main" id="{69533352-BF86-346F-5B6C-7A747A17BC73}"/>
                </a:ext>
              </a:extLst>
            </p:cNvPr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doc id">
              <a:extLst>
                <a:ext uri="{FF2B5EF4-FFF2-40B4-BE49-F238E27FC236}">
                  <a16:creationId xmlns:a16="http://schemas.microsoft.com/office/drawing/2014/main" id="{25775342-417E-83AE-F867-1336A03898EB}"/>
                </a:ext>
              </a:extLst>
            </p:cNvPr>
            <p:cNvSpPr>
              <a:spLocks noChangeArrowheads="1"/>
            </p:cNvSpPr>
            <p:nvPr/>
          </p:nvSpPr>
          <p:spPr bwMode="ltGray">
            <a:xfrm>
              <a:off x="11064591" y="51833"/>
              <a:ext cx="894152" cy="1247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marL="0" marR="0" lvl="0" indent="0" algn="r" defTabSz="9135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16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CE562F68-D570-4CA4-D906-B2DC50C8C045}"/>
                </a:ext>
              </a:extLst>
            </p:cNvPr>
            <p:cNvSpPr>
              <a:spLocks/>
            </p:cNvSpPr>
            <p:nvPr/>
          </p:nvSpPr>
          <p:spPr bwMode="ltGray">
            <a:xfrm>
              <a:off x="10427596" y="1569403"/>
              <a:ext cx="1764404" cy="3834145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1 h 5403547"/>
                <a:gd name="connsiteX3" fmla="*/ 23964 w 2519830"/>
                <a:gd name="connsiteY3" fmla="*/ 1 h 5403547"/>
                <a:gd name="connsiteX4" fmla="*/ 755426 w 2519830"/>
                <a:gd name="connsiteY4" fmla="*/ 1569402 h 5403547"/>
                <a:gd name="connsiteX5" fmla="*/ 2519830 w 2519830"/>
                <a:gd name="connsiteY5" fmla="*/ 2390793 h 5403547"/>
                <a:gd name="connsiteX6" fmla="*/ 2519830 w 2519830"/>
                <a:gd name="connsiteY6" fmla="*/ 5403547 h 5403547"/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3964 w 2519830"/>
                <a:gd name="connsiteY2" fmla="*/ 1 h 5403547"/>
                <a:gd name="connsiteX3" fmla="*/ 755426 w 2519830"/>
                <a:gd name="connsiteY3" fmla="*/ 1569402 h 5403547"/>
                <a:gd name="connsiteX4" fmla="*/ 2519830 w 2519830"/>
                <a:gd name="connsiteY4" fmla="*/ 2390793 h 5403547"/>
                <a:gd name="connsiteX5" fmla="*/ 2519830 w 2519830"/>
                <a:gd name="connsiteY5" fmla="*/ 5403547 h 5403547"/>
                <a:gd name="connsiteX6" fmla="*/ 0 w 2519830"/>
                <a:gd name="connsiteY6" fmla="*/ 0 h 5403547"/>
                <a:gd name="connsiteX0" fmla="*/ 0 w 2519830"/>
                <a:gd name="connsiteY0" fmla="*/ 0 h 5403547"/>
                <a:gd name="connsiteX1" fmla="*/ 23964 w 2519830"/>
                <a:gd name="connsiteY1" fmla="*/ 1 h 5403547"/>
                <a:gd name="connsiteX2" fmla="*/ 755426 w 2519830"/>
                <a:gd name="connsiteY2" fmla="*/ 1569402 h 5403547"/>
                <a:gd name="connsiteX3" fmla="*/ 2519830 w 2519830"/>
                <a:gd name="connsiteY3" fmla="*/ 2390793 h 5403547"/>
                <a:gd name="connsiteX4" fmla="*/ 2519830 w 2519830"/>
                <a:gd name="connsiteY4" fmla="*/ 5403547 h 5403547"/>
                <a:gd name="connsiteX5" fmla="*/ 0 w 2519830"/>
                <a:gd name="connsiteY5" fmla="*/ 0 h 5403547"/>
                <a:gd name="connsiteX0" fmla="*/ 2495866 w 2495866"/>
                <a:gd name="connsiteY0" fmla="*/ 5403546 h 5403546"/>
                <a:gd name="connsiteX1" fmla="*/ 0 w 2495866"/>
                <a:gd name="connsiteY1" fmla="*/ 0 h 5403546"/>
                <a:gd name="connsiteX2" fmla="*/ 731462 w 2495866"/>
                <a:gd name="connsiteY2" fmla="*/ 1569401 h 5403546"/>
                <a:gd name="connsiteX3" fmla="*/ 2495866 w 2495866"/>
                <a:gd name="connsiteY3" fmla="*/ 2390792 h 5403546"/>
                <a:gd name="connsiteX4" fmla="*/ 2495866 w 2495866"/>
                <a:gd name="connsiteY4" fmla="*/ 5403546 h 5403546"/>
                <a:gd name="connsiteX0" fmla="*/ 1764404 w 1764404"/>
                <a:gd name="connsiteY0" fmla="*/ 3834145 h 3834145"/>
                <a:gd name="connsiteX1" fmla="*/ 0 w 1764404"/>
                <a:gd name="connsiteY1" fmla="*/ 0 h 3834145"/>
                <a:gd name="connsiteX2" fmla="*/ 1764404 w 1764404"/>
                <a:gd name="connsiteY2" fmla="*/ 821391 h 3834145"/>
                <a:gd name="connsiteX3" fmla="*/ 1764404 w 1764404"/>
                <a:gd name="connsiteY3" fmla="*/ 3834145 h 3834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64404" h="3834145">
                  <a:moveTo>
                    <a:pt x="1764404" y="3834145"/>
                  </a:moveTo>
                  <a:lnTo>
                    <a:pt x="0" y="0"/>
                  </a:lnTo>
                  <a:lnTo>
                    <a:pt x="1764404" y="821391"/>
                  </a:lnTo>
                  <a:lnTo>
                    <a:pt x="1764404" y="3834145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43F07E6A-EA10-8C4D-90C9-836A9EA4321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 bwMode="ltGray">
            <a:xfrm>
              <a:off x="611441" y="542924"/>
              <a:ext cx="2688569" cy="841321"/>
            </a:xfrm>
            <a:prstGeom prst="rect">
              <a:avLst/>
            </a:prstGeom>
          </p:spPr>
        </p:pic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945212F-1B29-DA1E-BB6C-ACBFC42B1273}"/>
                </a:ext>
              </a:extLst>
            </p:cNvPr>
            <p:cNvSpPr>
              <a:spLocks/>
            </p:cNvSpPr>
            <p:nvPr/>
          </p:nvSpPr>
          <p:spPr bwMode="ltGray">
            <a:xfrm>
              <a:off x="6443063" y="-12038"/>
              <a:ext cx="5474706" cy="4825984"/>
            </a:xfrm>
            <a:custGeom>
              <a:avLst/>
              <a:gdLst>
                <a:gd name="connsiteX0" fmla="*/ 0 w 5474706"/>
                <a:gd name="connsiteY0" fmla="*/ 0 h 4825984"/>
                <a:gd name="connsiteX1" fmla="*/ 610810 w 5474706"/>
                <a:gd name="connsiteY1" fmla="*/ 0 h 4825984"/>
                <a:gd name="connsiteX2" fmla="*/ 3981656 w 5474706"/>
                <a:gd name="connsiteY2" fmla="*/ 1569869 h 4825984"/>
                <a:gd name="connsiteX3" fmla="*/ 3982923 w 5474706"/>
                <a:gd name="connsiteY3" fmla="*/ 1572586 h 4825984"/>
                <a:gd name="connsiteX4" fmla="*/ 3976086 w 5474706"/>
                <a:gd name="connsiteY4" fmla="*/ 1569403 h 4825984"/>
                <a:gd name="connsiteX5" fmla="*/ 5474706 w 5474706"/>
                <a:gd name="connsiteY5" fmla="*/ 4825984 h 4825984"/>
                <a:gd name="connsiteX6" fmla="*/ 1349206 w 5474706"/>
                <a:gd name="connsiteY6" fmla="*/ 2911232 h 4825984"/>
                <a:gd name="connsiteX7" fmla="*/ 510415 w 5474706"/>
                <a:gd name="connsiteY7" fmla="*/ 1101566 h 4825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474706" h="4825984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3982923" y="1572586"/>
                  </a:lnTo>
                  <a:lnTo>
                    <a:pt x="3976086" y="1569403"/>
                  </a:lnTo>
                  <a:lnTo>
                    <a:pt x="5474706" y="4825984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9628204E-9659-C3ED-0BAC-90A8166C265D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834471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0" i="0">
                <a:solidFill>
                  <a:srgbClr val="87C58F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9D497A-70D3-4528-9C9A-4CE86D692B4B}" type="datetime1">
              <a:rPr lang="en-US" smtClean="0"/>
              <a:t>12/15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BEBEBE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20"/>
              <a:t>Page </a:t>
            </a:r>
            <a:r>
              <a:rPr spc="-30"/>
              <a:t>|</a:t>
            </a:r>
            <a:r>
              <a:rPr spc="150"/>
              <a:t> </a:t>
            </a:r>
            <a:fld id="{81D60167-4931-47E6-BA6A-407CBD079E47}" type="slidenum">
              <a:rPr spc="-30" dirty="0"/>
              <a:t>‹#›</a:t>
            </a:fld>
            <a:endParaRPr spc="-30"/>
          </a:p>
        </p:txBody>
      </p:sp>
    </p:spTree>
    <p:extLst>
      <p:ext uri="{BB962C8B-B14F-4D97-AF65-F5344CB8AC3E}">
        <p14:creationId xmlns:p14="http://schemas.microsoft.com/office/powerpoint/2010/main" val="33836575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A2E7DB-DE05-4F94-BC95-B10E6C621DC8}" type="datetime1">
              <a:rPr lang="en-US" smtClean="0"/>
              <a:t>12/15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BEBEBE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20"/>
              <a:t>Page </a:t>
            </a:r>
            <a:r>
              <a:rPr spc="-30"/>
              <a:t>|</a:t>
            </a:r>
            <a:r>
              <a:rPr spc="150"/>
              <a:t> </a:t>
            </a:r>
            <a:fld id="{81D60167-4931-47E6-BA6A-407CBD079E47}" type="slidenum">
              <a:rPr spc="-30" dirty="0"/>
              <a:t>‹#›</a:t>
            </a:fld>
            <a:endParaRPr spc="-30"/>
          </a:p>
        </p:txBody>
      </p:sp>
    </p:spTree>
    <p:extLst>
      <p:ext uri="{BB962C8B-B14F-4D97-AF65-F5344CB8AC3E}">
        <p14:creationId xmlns:p14="http://schemas.microsoft.com/office/powerpoint/2010/main" val="130753186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0" i="0">
                <a:solidFill>
                  <a:srgbClr val="87C58F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852932" y="1578991"/>
            <a:ext cx="4142104" cy="41636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50" b="0" i="0">
                <a:solidFill>
                  <a:srgbClr val="383838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8AD78D-093B-4BEC-90BA-4B8386AC99AD}" type="datetime1">
              <a:rPr lang="en-US" smtClean="0"/>
              <a:t>12/15/2023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BEBEBE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20"/>
              <a:t>Page </a:t>
            </a:r>
            <a:r>
              <a:rPr spc="-30"/>
              <a:t>|</a:t>
            </a:r>
            <a:r>
              <a:rPr spc="150"/>
              <a:t> </a:t>
            </a:r>
            <a:fld id="{81D60167-4931-47E6-BA6A-407CBD079E47}" type="slidenum">
              <a:rPr spc="-30" dirty="0"/>
              <a:t>‹#›</a:t>
            </a:fld>
            <a:endParaRPr spc="-30"/>
          </a:p>
        </p:txBody>
      </p:sp>
    </p:spTree>
    <p:extLst>
      <p:ext uri="{BB962C8B-B14F-4D97-AF65-F5344CB8AC3E}">
        <p14:creationId xmlns:p14="http://schemas.microsoft.com/office/powerpoint/2010/main" val="26847347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7661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30A6A7F9-7F25-47B4-9EFD-7399510D5D35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561925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38D18C3-132D-4EA9-A013-8C02F2367BA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591537" y="0"/>
            <a:ext cx="7600463" cy="5403547"/>
            <a:chOff x="4591537" y="0"/>
            <a:chExt cx="7600463" cy="5403547"/>
          </a:xfrm>
        </p:grpSpPr>
        <p:sp>
          <p:nvSpPr>
            <p:cNvPr id="32" name="Freeform 31"/>
            <p:cNvSpPr>
              <a:spLocks/>
            </p:cNvSpPr>
            <p:nvPr userDrawn="1"/>
          </p:nvSpPr>
          <p:spPr bwMode="ltGray">
            <a:xfrm>
              <a:off x="9672169" y="0"/>
              <a:ext cx="2519830" cy="5403547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5403547 h 5403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19830" h="5403547">
                  <a:moveTo>
                    <a:pt x="0" y="0"/>
                  </a:moveTo>
                  <a:lnTo>
                    <a:pt x="2519830" y="0"/>
                  </a:lnTo>
                  <a:lnTo>
                    <a:pt x="2519830" y="5403547"/>
                  </a:lnTo>
                  <a:close/>
                </a:path>
              </a:pathLst>
            </a:custGeom>
            <a:solidFill>
              <a:srgbClr val="AAD3A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E7F2E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ltGray">
            <a:xfrm>
              <a:off x="6445332" y="0"/>
              <a:ext cx="5507233" cy="4841081"/>
            </a:xfrm>
            <a:custGeom>
              <a:avLst/>
              <a:gdLst>
                <a:gd name="connsiteX0" fmla="*/ 0 w 5507233"/>
                <a:gd name="connsiteY0" fmla="*/ 0 h 4841081"/>
                <a:gd name="connsiteX1" fmla="*/ 610810 w 5507233"/>
                <a:gd name="connsiteY1" fmla="*/ 0 h 4841081"/>
                <a:gd name="connsiteX2" fmla="*/ 3981656 w 5507233"/>
                <a:gd name="connsiteY2" fmla="*/ 1569869 h 4841081"/>
                <a:gd name="connsiteX3" fmla="*/ 4665678 w 5507233"/>
                <a:gd name="connsiteY3" fmla="*/ 3036941 h 4841081"/>
                <a:gd name="connsiteX4" fmla="*/ 5507233 w 5507233"/>
                <a:gd name="connsiteY4" fmla="*/ 4841081 h 4841081"/>
                <a:gd name="connsiteX5" fmla="*/ 1349206 w 5507233"/>
                <a:gd name="connsiteY5" fmla="*/ 2911232 h 4841081"/>
                <a:gd name="connsiteX6" fmla="*/ 510415 w 5507233"/>
                <a:gd name="connsiteY6" fmla="*/ 1101566 h 4841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07233" h="4841081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4665678" y="3036941"/>
                  </a:lnTo>
                  <a:lnTo>
                    <a:pt x="5507233" y="4841081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C1DEC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ltGray">
            <a:xfrm>
              <a:off x="7057081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8AC5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CEE5C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</p:grp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611441" y="6340334"/>
            <a:ext cx="379578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>
                <a:solidFill>
                  <a:schemeClr val="accent6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611441" y="6493758"/>
            <a:ext cx="4038929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>
                <a:solidFill>
                  <a:schemeClr val="accent6"/>
                </a:solidFill>
                <a:latin typeface="+mn-lt"/>
              </a:rPr>
              <a:t>Last Modified 9/1/2021 9:10 AM Arab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611441" y="6647183"/>
            <a:ext cx="379578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 baseline="0">
                <a:solidFill>
                  <a:schemeClr val="accent6"/>
                </a:solidFill>
                <a:latin typeface="+mn-lt"/>
              </a:rPr>
              <a:t>Printed 29/12/2019 07:18 Arab Standard Time</a:t>
            </a:r>
            <a:endParaRPr lang="en-US" sz="900" baseline="0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ltGray">
          <a:xfrm>
            <a:off x="611441" y="542924"/>
            <a:ext cx="2688569" cy="841321"/>
          </a:xfrm>
          <a:prstGeom prst="rect">
            <a:avLst/>
          </a:prstGeom>
        </p:spPr>
      </p:pic>
      <p:cxnSp>
        <p:nvCxnSpPr>
          <p:cNvPr id="37" name="Straight Connector 36"/>
          <p:cNvCxnSpPr/>
          <p:nvPr userDrawn="1"/>
        </p:nvCxnSpPr>
        <p:spPr bwMode="auto">
          <a:xfrm>
            <a:off x="611441" y="6252508"/>
            <a:ext cx="5171091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  <p:sp>
        <p:nvSpPr>
          <p:cNvPr id="17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611441" y="2384443"/>
            <a:ext cx="6027484" cy="55399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3600" b="1" baseline="0">
                <a:solidFill>
                  <a:schemeClr val="accent3">
                    <a:lumMod val="75000"/>
                  </a:schemeClr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611442" y="4099796"/>
            <a:ext cx="6027484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0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auto">
          <a:xfrm>
            <a:off x="611441" y="5568928"/>
            <a:ext cx="60274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215783363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839411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90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207183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412">
          <p15:clr>
            <a:srgbClr val="000000"/>
          </p15:clr>
        </p15:guide>
        <p15:guide id="2" orient="horz" pos="582">
          <p15:clr>
            <a:srgbClr val="000000"/>
          </p15:clr>
        </p15:guide>
        <p15:guide id="3" orient="horz" pos="3991">
          <p15:clr>
            <a:srgbClr val="000000"/>
          </p15:clr>
        </p15:guide>
        <p15:guide id="4" pos="98">
          <p15:clr>
            <a:srgbClr val="00000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C2DC3B-555B-46D3-9C82-83C4B92E3C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CCCE22-1493-4319-81E7-7DF99C65F0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420421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66506AC-8BF5-4F95-B0B8-D1B3810460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1828973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66506AC-8BF5-4F95-B0B8-D1B3810460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43C4FD2-D3F0-4127-82F9-DB72DAD4350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>
              <a:solidFill>
                <a:schemeClr val="tx1"/>
              </a:solidFill>
              <a:latin typeface="Arial Nova Light" panose="020B0304020202020204" pitchFamily="34" charset="0"/>
              <a:ea typeface="+mj-ea"/>
              <a:cs typeface="+mj-cs"/>
              <a:sym typeface="Arial Nova Light" panose="020B0304020202020204" pitchFamily="34" charset="0"/>
            </a:endParaRPr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11626136" y="6564117"/>
            <a:ext cx="158653" cy="16015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20" smtClean="0"/>
              <a:pPr lvl="0"/>
              <a:t>‹#›</a:t>
            </a:fld>
            <a:endParaRPr lang="en-US" sz="1020"/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304516" y="147397"/>
            <a:ext cx="11582954" cy="314028"/>
          </a:xfrm>
        </p:spPr>
        <p:txBody>
          <a:bodyPr vert="horz"/>
          <a:lstStyle>
            <a:lvl1pPr>
              <a:defRPr sz="2041" b="0">
                <a:solidFill>
                  <a:schemeClr val="tx2"/>
                </a:solidFill>
                <a:latin typeface="Arial Nova Light" panose="020B03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F855646-5681-4075-81F9-7EE31D7F86D2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04517" y="495481"/>
            <a:ext cx="11584586" cy="256260"/>
          </a:xfrm>
        </p:spPr>
        <p:txBody>
          <a:bodyPr/>
          <a:lstStyle>
            <a:lvl1pPr>
              <a:defRPr/>
            </a:lvl1pPr>
          </a:lstStyle>
          <a:p>
            <a:r>
              <a:rPr lang="en-US" sz="1632" kern="0">
                <a:solidFill>
                  <a:schemeClr val="tx1"/>
                </a:solidFill>
              </a:rPr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17926927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Reportaldemo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F66530A-DD24-411A-B42E-46F1307F4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1" y="1620"/>
          <a:ext cx="216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F66530A-DD24-411A-B42E-46F1307F4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0"/>
                        <a:ext cx="216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46140CC-3B3E-495B-BCFB-3737404C7CB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5979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AA042958-2DF9-455C-86B5-C1A016329792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652053" y="6640499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16" baseline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3" name="Table Placeholder 2">
            <a:extLst>
              <a:ext uri="{FF2B5EF4-FFF2-40B4-BE49-F238E27FC236}">
                <a16:creationId xmlns:a16="http://schemas.microsoft.com/office/drawing/2014/main" id="{37021756-C5E9-4212-9D18-BC3FA12C2F2C}"/>
              </a:ext>
            </a:extLst>
          </p:cNvPr>
          <p:cNvSpPr>
            <a:spLocks noGrp="1"/>
          </p:cNvSpPr>
          <p:nvPr>
            <p:ph type="tbl" sz="quarter" idx="17"/>
          </p:nvPr>
        </p:nvSpPr>
        <p:spPr>
          <a:xfrm>
            <a:off x="426130" y="613973"/>
            <a:ext cx="11402238" cy="5162792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  <p:sp>
        <p:nvSpPr>
          <p:cNvPr id="14" name="Checkme">
            <a:extLst>
              <a:ext uri="{FF2B5EF4-FFF2-40B4-BE49-F238E27FC236}">
                <a16:creationId xmlns:a16="http://schemas.microsoft.com/office/drawing/2014/main" id="{593E23A0-F4B7-4FDA-9D94-D631957C75E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36091" y="46896"/>
            <a:ext cx="3995607" cy="318146"/>
          </a:xfrm>
        </p:spPr>
        <p:txBody>
          <a:bodyPr/>
          <a:lstStyle>
            <a:lvl1pPr>
              <a:defRPr sz="1632"/>
            </a:lvl1pPr>
          </a:lstStyle>
          <a:p>
            <a:pPr lvl="0"/>
            <a:r>
              <a:rPr lang="en-US" sz="1837" err="1"/>
              <a:t>OutbyDemog</a:t>
            </a:r>
            <a:endParaRPr lang="en-US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C0D7C842-1D94-49B9-9086-B789F321299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943809" y="5929886"/>
            <a:ext cx="4157591" cy="2814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0044132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89606062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2123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55128890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3452223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38D18C3-132D-4EA9-A013-8C02F2367BA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611441" y="6340334"/>
            <a:ext cx="379578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>
                <a:solidFill>
                  <a:schemeClr val="accent6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611441" y="6493758"/>
            <a:ext cx="4038929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>
                <a:solidFill>
                  <a:schemeClr val="accent6"/>
                </a:solidFill>
                <a:latin typeface="+mn-lt"/>
              </a:rPr>
              <a:t>Last Modified 9/1/2021 9:10 AM Arab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611441" y="6647183"/>
            <a:ext cx="379578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 baseline="0">
                <a:solidFill>
                  <a:schemeClr val="accent6"/>
                </a:solidFill>
                <a:latin typeface="+mn-lt"/>
              </a:rPr>
              <a:t>Printed 29/12/2019 07:18 Arab Standard Time</a:t>
            </a:r>
            <a:endParaRPr lang="en-US" sz="900" baseline="0">
              <a:solidFill>
                <a:schemeClr val="accent6"/>
              </a:solidFill>
              <a:latin typeface="+mn-lt"/>
            </a:endParaRPr>
          </a:p>
        </p:txBody>
      </p:sp>
      <p:cxnSp>
        <p:nvCxnSpPr>
          <p:cNvPr id="37" name="Straight Connector 36"/>
          <p:cNvCxnSpPr/>
          <p:nvPr userDrawn="1"/>
        </p:nvCxnSpPr>
        <p:spPr bwMode="auto">
          <a:xfrm>
            <a:off x="611441" y="6252508"/>
            <a:ext cx="5171091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  <p:sp>
        <p:nvSpPr>
          <p:cNvPr id="17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auto">
          <a:xfrm>
            <a:off x="611441" y="5568928"/>
            <a:ext cx="60274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6E68F200-98BD-4196-9A6E-DA5F8EAF21DF}"/>
              </a:ext>
            </a:extLst>
          </p:cNvPr>
          <p:cNvPicPr>
            <a:picLocks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233258" y="6468512"/>
            <a:ext cx="2889060" cy="269232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Slide Number">
            <a:extLst>
              <a:ext uri="{FF2B5EF4-FFF2-40B4-BE49-F238E27FC236}">
                <a16:creationId xmlns:a16="http://schemas.microsoft.com/office/drawing/2014/main" id="{224BDBF2-7D42-4FBA-B4D2-F38435BF7B85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08061" y="6583245"/>
            <a:ext cx="150682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1000" baseline="0" smtClean="0">
                <a:solidFill>
                  <a:schemeClr val="tx1"/>
                </a:solidFill>
                <a:latin typeface="+mn-lt"/>
              </a:rPr>
              <a:pPr algn="r"/>
              <a:t>‹#›</a:t>
            </a:fld>
            <a:endParaRPr lang="en-US" sz="1000" baseline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1" name="Title Placeholder 2">
            <a:extLst>
              <a:ext uri="{FF2B5EF4-FFF2-40B4-BE49-F238E27FC236}">
                <a16:creationId xmlns:a16="http://schemas.microsoft.com/office/drawing/2014/main" id="{3991CDBB-090A-46BB-9168-BA7D4D993AF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33258" y="240563"/>
            <a:ext cx="11725485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C112D22-48BC-4CFF-B8B2-98DB8CEA6D53}"/>
              </a:ext>
            </a:extLst>
          </p:cNvPr>
          <p:cNvCxnSpPr/>
          <p:nvPr userDrawn="1"/>
        </p:nvCxnSpPr>
        <p:spPr bwMode="ltGray">
          <a:xfrm flipV="1">
            <a:off x="233263" y="6248688"/>
            <a:ext cx="11725480" cy="17939"/>
          </a:xfrm>
          <a:prstGeom prst="line">
            <a:avLst/>
          </a:prstGeom>
          <a:noFill/>
          <a:ln w="6350" cap="flat" cmpd="sng" algn="ctr">
            <a:solidFill>
              <a:srgbClr val="A5A5A5"/>
            </a:solidFill>
            <a:prstDash val="solid"/>
            <a:miter lim="800000"/>
          </a:ln>
          <a:effectLst/>
        </p:spPr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7D096888-0986-433D-A876-41F108CE93BD}"/>
              </a:ext>
            </a:extLst>
          </p:cNvPr>
          <p:cNvSpPr/>
          <p:nvPr userDrawn="1"/>
        </p:nvSpPr>
        <p:spPr bwMode="ltGray">
          <a:xfrm>
            <a:off x="10650379" y="6248684"/>
            <a:ext cx="1308360" cy="54688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F9E2FC7-9183-4B1A-AB5F-490BD9ECB3BF}"/>
              </a:ext>
            </a:extLst>
          </p:cNvPr>
          <p:cNvSpPr/>
          <p:nvPr userDrawn="1"/>
        </p:nvSpPr>
        <p:spPr bwMode="ltGray">
          <a:xfrm>
            <a:off x="233258" y="6257658"/>
            <a:ext cx="2960044" cy="45719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90165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>
          <a:xfrm>
            <a:off x="550800" y="6192267"/>
            <a:ext cx="683583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51941" y="5774658"/>
            <a:ext cx="683583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1942" y="2210324"/>
            <a:ext cx="6835830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AB0CD9-1BA9-EDB1-4A11-C080FA1DF1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76418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AB0CD9-1BA9-EDB1-4A11-C080FA1DF1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8E58E711-6B1A-A4EE-E2D3-C799159CDD51}"/>
              </a:ext>
            </a:extLst>
          </p:cNvPr>
          <p:cNvGrpSpPr/>
          <p:nvPr userDrawn="1"/>
        </p:nvGrpSpPr>
        <p:grpSpPr bwMode="ltGray">
          <a:xfrm>
            <a:off x="-15898" y="-12038"/>
            <a:ext cx="12207898" cy="6870038"/>
            <a:chOff x="-15898" y="-12038"/>
            <a:chExt cx="12207898" cy="6870038"/>
          </a:xfrm>
        </p:grpSpPr>
        <p:pic>
          <p:nvPicPr>
            <p:cNvPr id="5" name="Picture 65" descr="About">
              <a:extLst>
                <a:ext uri="{FF2B5EF4-FFF2-40B4-BE49-F238E27FC236}">
                  <a16:creationId xmlns:a16="http://schemas.microsoft.com/office/drawing/2014/main" id="{39638C46-CEE4-DDFA-19AC-84AD1A43677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886" r="5521"/>
            <a:stretch/>
          </p:blipFill>
          <p:spPr bwMode="ltGray">
            <a:xfrm>
              <a:off x="-15898" y="0"/>
              <a:ext cx="12207898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E065A19-3D68-82C7-21F4-D09B8F4E36D3}"/>
                </a:ext>
              </a:extLst>
            </p:cNvPr>
            <p:cNvSpPr/>
            <p:nvPr/>
          </p:nvSpPr>
          <p:spPr bwMode="ltGray">
            <a:xfrm>
              <a:off x="-15898" y="0"/>
              <a:ext cx="12207898" cy="6858000"/>
            </a:xfrm>
            <a:prstGeom prst="rect">
              <a:avLst/>
            </a:prstGeom>
            <a:gradFill flip="none" rotWithShape="1">
              <a:gsLst>
                <a:gs pos="18000">
                  <a:srgbClr val="3F6B39">
                    <a:alpha val="86000"/>
                  </a:srgbClr>
                </a:gs>
                <a:gs pos="100000">
                  <a:srgbClr val="3F6B39">
                    <a:alpha val="35000"/>
                  </a:srgbClr>
                </a:gs>
              </a:gsLst>
              <a:lin ang="0" scaled="1"/>
              <a:tileRect/>
            </a:gradFill>
            <a:ln w="9525" cap="flat" cmpd="sng" algn="ctr">
              <a:solidFill>
                <a:srgbClr val="3F6B39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Group 1">
              <a:extLst>
                <a:ext uri="{FF2B5EF4-FFF2-40B4-BE49-F238E27FC236}">
                  <a16:creationId xmlns:a16="http://schemas.microsoft.com/office/drawing/2014/main" id="{C90B576D-2FB6-20CB-8320-2D5FE8639A90}"/>
                </a:ext>
              </a:extLst>
            </p:cNvPr>
            <p:cNvSpPr>
              <a:spLocks/>
            </p:cNvSpPr>
            <p:nvPr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FFFFFF">
                <a:alpha val="36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9" name="Freeform 34">
              <a:extLst>
                <a:ext uri="{FF2B5EF4-FFF2-40B4-BE49-F238E27FC236}">
                  <a16:creationId xmlns:a16="http://schemas.microsoft.com/office/drawing/2014/main" id="{8A49AE16-D8A4-3006-BAF3-E7EBDAAB51B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7057081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Freeform 35">
              <a:extLst>
                <a:ext uri="{FF2B5EF4-FFF2-40B4-BE49-F238E27FC236}">
                  <a16:creationId xmlns:a16="http://schemas.microsoft.com/office/drawing/2014/main" id="{69533352-BF86-346F-5B6C-7A747A17BC73}"/>
                </a:ext>
              </a:extLst>
            </p:cNvPr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doc id">
              <a:extLst>
                <a:ext uri="{FF2B5EF4-FFF2-40B4-BE49-F238E27FC236}">
                  <a16:creationId xmlns:a16="http://schemas.microsoft.com/office/drawing/2014/main" id="{25775342-417E-83AE-F867-1336A03898EB}"/>
                </a:ext>
              </a:extLst>
            </p:cNvPr>
            <p:cNvSpPr>
              <a:spLocks noChangeArrowheads="1"/>
            </p:cNvSpPr>
            <p:nvPr/>
          </p:nvSpPr>
          <p:spPr bwMode="ltGray">
            <a:xfrm>
              <a:off x="11064591" y="51833"/>
              <a:ext cx="894152" cy="1247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marL="0" marR="0" lvl="0" indent="0" algn="r" defTabSz="9135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16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CE562F68-D570-4CA4-D906-B2DC50C8C045}"/>
                </a:ext>
              </a:extLst>
            </p:cNvPr>
            <p:cNvSpPr>
              <a:spLocks/>
            </p:cNvSpPr>
            <p:nvPr/>
          </p:nvSpPr>
          <p:spPr bwMode="ltGray">
            <a:xfrm>
              <a:off x="10427596" y="1569403"/>
              <a:ext cx="1764404" cy="3834145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1 h 5403547"/>
                <a:gd name="connsiteX3" fmla="*/ 23964 w 2519830"/>
                <a:gd name="connsiteY3" fmla="*/ 1 h 5403547"/>
                <a:gd name="connsiteX4" fmla="*/ 755426 w 2519830"/>
                <a:gd name="connsiteY4" fmla="*/ 1569402 h 5403547"/>
                <a:gd name="connsiteX5" fmla="*/ 2519830 w 2519830"/>
                <a:gd name="connsiteY5" fmla="*/ 2390793 h 5403547"/>
                <a:gd name="connsiteX6" fmla="*/ 2519830 w 2519830"/>
                <a:gd name="connsiteY6" fmla="*/ 5403547 h 5403547"/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3964 w 2519830"/>
                <a:gd name="connsiteY2" fmla="*/ 1 h 5403547"/>
                <a:gd name="connsiteX3" fmla="*/ 755426 w 2519830"/>
                <a:gd name="connsiteY3" fmla="*/ 1569402 h 5403547"/>
                <a:gd name="connsiteX4" fmla="*/ 2519830 w 2519830"/>
                <a:gd name="connsiteY4" fmla="*/ 2390793 h 5403547"/>
                <a:gd name="connsiteX5" fmla="*/ 2519830 w 2519830"/>
                <a:gd name="connsiteY5" fmla="*/ 5403547 h 5403547"/>
                <a:gd name="connsiteX6" fmla="*/ 0 w 2519830"/>
                <a:gd name="connsiteY6" fmla="*/ 0 h 5403547"/>
                <a:gd name="connsiteX0" fmla="*/ 0 w 2519830"/>
                <a:gd name="connsiteY0" fmla="*/ 0 h 5403547"/>
                <a:gd name="connsiteX1" fmla="*/ 23964 w 2519830"/>
                <a:gd name="connsiteY1" fmla="*/ 1 h 5403547"/>
                <a:gd name="connsiteX2" fmla="*/ 755426 w 2519830"/>
                <a:gd name="connsiteY2" fmla="*/ 1569402 h 5403547"/>
                <a:gd name="connsiteX3" fmla="*/ 2519830 w 2519830"/>
                <a:gd name="connsiteY3" fmla="*/ 2390793 h 5403547"/>
                <a:gd name="connsiteX4" fmla="*/ 2519830 w 2519830"/>
                <a:gd name="connsiteY4" fmla="*/ 5403547 h 5403547"/>
                <a:gd name="connsiteX5" fmla="*/ 0 w 2519830"/>
                <a:gd name="connsiteY5" fmla="*/ 0 h 5403547"/>
                <a:gd name="connsiteX0" fmla="*/ 2495866 w 2495866"/>
                <a:gd name="connsiteY0" fmla="*/ 5403546 h 5403546"/>
                <a:gd name="connsiteX1" fmla="*/ 0 w 2495866"/>
                <a:gd name="connsiteY1" fmla="*/ 0 h 5403546"/>
                <a:gd name="connsiteX2" fmla="*/ 731462 w 2495866"/>
                <a:gd name="connsiteY2" fmla="*/ 1569401 h 5403546"/>
                <a:gd name="connsiteX3" fmla="*/ 2495866 w 2495866"/>
                <a:gd name="connsiteY3" fmla="*/ 2390792 h 5403546"/>
                <a:gd name="connsiteX4" fmla="*/ 2495866 w 2495866"/>
                <a:gd name="connsiteY4" fmla="*/ 5403546 h 5403546"/>
                <a:gd name="connsiteX0" fmla="*/ 1764404 w 1764404"/>
                <a:gd name="connsiteY0" fmla="*/ 3834145 h 3834145"/>
                <a:gd name="connsiteX1" fmla="*/ 0 w 1764404"/>
                <a:gd name="connsiteY1" fmla="*/ 0 h 3834145"/>
                <a:gd name="connsiteX2" fmla="*/ 1764404 w 1764404"/>
                <a:gd name="connsiteY2" fmla="*/ 821391 h 3834145"/>
                <a:gd name="connsiteX3" fmla="*/ 1764404 w 1764404"/>
                <a:gd name="connsiteY3" fmla="*/ 3834145 h 3834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64404" h="3834145">
                  <a:moveTo>
                    <a:pt x="1764404" y="3834145"/>
                  </a:moveTo>
                  <a:lnTo>
                    <a:pt x="0" y="0"/>
                  </a:lnTo>
                  <a:lnTo>
                    <a:pt x="1764404" y="821391"/>
                  </a:lnTo>
                  <a:lnTo>
                    <a:pt x="1764404" y="3834145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43F07E6A-EA10-8C4D-90C9-836A9EA4321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 bwMode="ltGray">
            <a:xfrm>
              <a:off x="611441" y="542924"/>
              <a:ext cx="2688569" cy="841321"/>
            </a:xfrm>
            <a:prstGeom prst="rect">
              <a:avLst/>
            </a:prstGeom>
          </p:spPr>
        </p:pic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945212F-1B29-DA1E-BB6C-ACBFC42B1273}"/>
                </a:ext>
              </a:extLst>
            </p:cNvPr>
            <p:cNvSpPr>
              <a:spLocks/>
            </p:cNvSpPr>
            <p:nvPr/>
          </p:nvSpPr>
          <p:spPr bwMode="ltGray">
            <a:xfrm>
              <a:off x="6443063" y="-12038"/>
              <a:ext cx="5474706" cy="4825984"/>
            </a:xfrm>
            <a:custGeom>
              <a:avLst/>
              <a:gdLst>
                <a:gd name="connsiteX0" fmla="*/ 0 w 5474706"/>
                <a:gd name="connsiteY0" fmla="*/ 0 h 4825984"/>
                <a:gd name="connsiteX1" fmla="*/ 610810 w 5474706"/>
                <a:gd name="connsiteY1" fmla="*/ 0 h 4825984"/>
                <a:gd name="connsiteX2" fmla="*/ 3981656 w 5474706"/>
                <a:gd name="connsiteY2" fmla="*/ 1569869 h 4825984"/>
                <a:gd name="connsiteX3" fmla="*/ 3982923 w 5474706"/>
                <a:gd name="connsiteY3" fmla="*/ 1572586 h 4825984"/>
                <a:gd name="connsiteX4" fmla="*/ 3976086 w 5474706"/>
                <a:gd name="connsiteY4" fmla="*/ 1569403 h 4825984"/>
                <a:gd name="connsiteX5" fmla="*/ 5474706 w 5474706"/>
                <a:gd name="connsiteY5" fmla="*/ 4825984 h 4825984"/>
                <a:gd name="connsiteX6" fmla="*/ 1349206 w 5474706"/>
                <a:gd name="connsiteY6" fmla="*/ 2911232 h 4825984"/>
                <a:gd name="connsiteX7" fmla="*/ 510415 w 5474706"/>
                <a:gd name="connsiteY7" fmla="*/ 1101566 h 4825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474706" h="4825984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3982923" y="1572586"/>
                  </a:lnTo>
                  <a:lnTo>
                    <a:pt x="3976086" y="1569403"/>
                  </a:lnTo>
                  <a:lnTo>
                    <a:pt x="5474706" y="4825984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9628204E-9659-C3ED-0BAC-90A8166C265D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99397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7647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3B0E45EA-7BE5-442F-9560-4747E835161F}"/>
              </a:ext>
            </a:extLst>
          </p:cNvPr>
          <p:cNvSpPr/>
          <p:nvPr/>
        </p:nvSpPr>
        <p:spPr bwMode="ltGray">
          <a:xfrm>
            <a:off x="0" y="5819792"/>
            <a:ext cx="12191999" cy="1038208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1FE66A3-9B4F-48DD-973A-A48B59160229}"/>
              </a:ext>
            </a:extLst>
          </p:cNvPr>
          <p:cNvGrpSpPr/>
          <p:nvPr/>
        </p:nvGrpSpPr>
        <p:grpSpPr bwMode="ltGray">
          <a:xfrm>
            <a:off x="4591537" y="0"/>
            <a:ext cx="7600463" cy="5403547"/>
            <a:chOff x="4591537" y="0"/>
            <a:chExt cx="7600463" cy="5403547"/>
          </a:xfrm>
        </p:grpSpPr>
        <p:sp>
          <p:nvSpPr>
            <p:cNvPr id="20" name="Freeform 31">
              <a:extLst>
                <a:ext uri="{FF2B5EF4-FFF2-40B4-BE49-F238E27FC236}">
                  <a16:creationId xmlns:a16="http://schemas.microsoft.com/office/drawing/2014/main" id="{90667E4D-EBC4-4CC1-9855-F12F3B69DC10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672169" y="0"/>
              <a:ext cx="2519830" cy="5403547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5403547 h 5403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19830" h="5403547">
                  <a:moveTo>
                    <a:pt x="0" y="0"/>
                  </a:moveTo>
                  <a:lnTo>
                    <a:pt x="2519830" y="0"/>
                  </a:lnTo>
                  <a:lnTo>
                    <a:pt x="2519830" y="5403547"/>
                  </a:lnTo>
                  <a:close/>
                </a:path>
              </a:pathLst>
            </a:custGeom>
            <a:solidFill>
              <a:srgbClr val="AAD3A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21" name="Freeform 32">
              <a:extLst>
                <a:ext uri="{FF2B5EF4-FFF2-40B4-BE49-F238E27FC236}">
                  <a16:creationId xmlns:a16="http://schemas.microsoft.com/office/drawing/2014/main" id="{909150F0-9D58-4AFD-98FE-1555B44A5F76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E7F2E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22" name="Freeform 33">
              <a:extLst>
                <a:ext uri="{FF2B5EF4-FFF2-40B4-BE49-F238E27FC236}">
                  <a16:creationId xmlns:a16="http://schemas.microsoft.com/office/drawing/2014/main" id="{00B217CA-FF7A-4694-A075-3719822C89B1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6445332" y="0"/>
              <a:ext cx="5507233" cy="4841081"/>
            </a:xfrm>
            <a:custGeom>
              <a:avLst/>
              <a:gdLst>
                <a:gd name="connsiteX0" fmla="*/ 0 w 5507233"/>
                <a:gd name="connsiteY0" fmla="*/ 0 h 4841081"/>
                <a:gd name="connsiteX1" fmla="*/ 610810 w 5507233"/>
                <a:gd name="connsiteY1" fmla="*/ 0 h 4841081"/>
                <a:gd name="connsiteX2" fmla="*/ 3981656 w 5507233"/>
                <a:gd name="connsiteY2" fmla="*/ 1569869 h 4841081"/>
                <a:gd name="connsiteX3" fmla="*/ 4665678 w 5507233"/>
                <a:gd name="connsiteY3" fmla="*/ 3036941 h 4841081"/>
                <a:gd name="connsiteX4" fmla="*/ 5507233 w 5507233"/>
                <a:gd name="connsiteY4" fmla="*/ 4841081 h 4841081"/>
                <a:gd name="connsiteX5" fmla="*/ 1349206 w 5507233"/>
                <a:gd name="connsiteY5" fmla="*/ 2911232 h 4841081"/>
                <a:gd name="connsiteX6" fmla="*/ 510415 w 5507233"/>
                <a:gd name="connsiteY6" fmla="*/ 1101566 h 4841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07233" h="4841081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4665678" y="3036941"/>
                  </a:lnTo>
                  <a:lnTo>
                    <a:pt x="5507233" y="4841081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C1DEC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23" name="Freeform 34">
              <a:extLst>
                <a:ext uri="{FF2B5EF4-FFF2-40B4-BE49-F238E27FC236}">
                  <a16:creationId xmlns:a16="http://schemas.microsoft.com/office/drawing/2014/main" id="{6E869E1F-0114-4B5B-BC21-BF57D030D68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7057081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8AC5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24" name="Freeform 35">
              <a:extLst>
                <a:ext uri="{FF2B5EF4-FFF2-40B4-BE49-F238E27FC236}">
                  <a16:creationId xmlns:a16="http://schemas.microsoft.com/office/drawing/2014/main" id="{17B1DBF2-4A23-4E11-BF69-602D78790FDD}"/>
                </a:ext>
              </a:extLst>
            </p:cNvPr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CEE5C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</p:grpSp>
      <p:pic>
        <p:nvPicPr>
          <p:cNvPr id="25" name="Picture 24">
            <a:extLst>
              <a:ext uri="{FF2B5EF4-FFF2-40B4-BE49-F238E27FC236}">
                <a16:creationId xmlns:a16="http://schemas.microsoft.com/office/drawing/2014/main" id="{21E4B8CD-8C13-4621-8127-1565EDA8861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 bwMode="ltGray">
          <a:xfrm>
            <a:off x="611441" y="542924"/>
            <a:ext cx="2688569" cy="841321"/>
          </a:xfrm>
          <a:prstGeom prst="rect">
            <a:avLst/>
          </a:prstGeom>
        </p:spPr>
      </p:pic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112F0FC-3EBB-4F50-B895-1F89E7AEBAF7}"/>
              </a:ext>
            </a:extLst>
          </p:cNvPr>
          <p:cNvCxnSpPr/>
          <p:nvPr/>
        </p:nvCxnSpPr>
        <p:spPr bwMode="ltGray">
          <a:xfrm>
            <a:off x="611441" y="6252508"/>
            <a:ext cx="5171091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2561414"/>
            <a:ext cx="6760464" cy="1354217"/>
          </a:xfrm>
        </p:spPr>
        <p:txBody>
          <a:bodyPr vert="horz" anchor="b" anchorCtr="0">
            <a:no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29" name="Subtitle">
            <a:extLst>
              <a:ext uri="{FF2B5EF4-FFF2-40B4-BE49-F238E27FC236}">
                <a16:creationId xmlns:a16="http://schemas.microsoft.com/office/drawing/2014/main" id="{3BB216A9-7249-4DED-83E2-F9EA93C16100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1941" y="4024099"/>
            <a:ext cx="6760464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07965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8BCAF1-0DFA-4348-8905-15EC744D5BCC}" type="datetime1">
              <a:rPr lang="en-US" smtClean="0"/>
              <a:t>12/15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BEBEBE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20"/>
              <a:t>Page </a:t>
            </a:r>
            <a:r>
              <a:rPr spc="-30"/>
              <a:t>|</a:t>
            </a:r>
            <a:r>
              <a:rPr spc="150"/>
              <a:t> </a:t>
            </a:r>
            <a:fld id="{81D60167-4931-47E6-BA6A-407CBD079E47}" type="slidenum">
              <a:rPr spc="-30" dirty="0"/>
              <a:t>‹#›</a:t>
            </a:fld>
            <a:endParaRPr spc="-30"/>
          </a:p>
        </p:txBody>
      </p:sp>
    </p:spTree>
    <p:extLst>
      <p:ext uri="{BB962C8B-B14F-4D97-AF65-F5344CB8AC3E}">
        <p14:creationId xmlns:p14="http://schemas.microsoft.com/office/powerpoint/2010/main" val="120338622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id="{92C269B7-8CC9-12AD-22BA-C0833C0559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327626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id="{92C269B7-8CC9-12AD-22BA-C0833C0559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EB1C1276-7C36-4B90-E2FA-9DDE37A58B08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482B7AD4-3A20-417A-CE32-E74B55061B9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83ACE5CF-47AE-4813-D59C-1AC343E48991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4547406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0" i="0">
                <a:solidFill>
                  <a:srgbClr val="87C58F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852932" y="1578991"/>
            <a:ext cx="4142104" cy="41636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50" b="0" i="0">
                <a:solidFill>
                  <a:srgbClr val="383838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FF5514-D660-4B1E-BA2F-9D326DCA87F5}" type="datetime1">
              <a:rPr lang="en-US" smtClean="0"/>
              <a:t>12/15/2023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BEBEBE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20"/>
              <a:t>Page </a:t>
            </a:r>
            <a:r>
              <a:rPr spc="-30"/>
              <a:t>|</a:t>
            </a:r>
            <a:r>
              <a:rPr spc="150"/>
              <a:t> </a:t>
            </a:r>
            <a:fld id="{81D60167-4931-47E6-BA6A-407CBD079E47}" type="slidenum">
              <a:rPr spc="-30" dirty="0"/>
              <a:t>‹#›</a:t>
            </a:fld>
            <a:endParaRPr spc="-30"/>
          </a:p>
        </p:txBody>
      </p:sp>
    </p:spTree>
    <p:extLst>
      <p:ext uri="{BB962C8B-B14F-4D97-AF65-F5344CB8AC3E}">
        <p14:creationId xmlns:p14="http://schemas.microsoft.com/office/powerpoint/2010/main" val="201134899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-Colour-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PH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8200" y="1825625"/>
            <a:ext cx="10515600" cy="4013315"/>
          </a:xfrm>
        </p:spPr>
        <p:txBody>
          <a:bodyPr/>
          <a:lstStyle>
            <a:lvl1pPr>
              <a:defRPr sz="20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PH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4" hasCustomPrompt="1"/>
          </p:nvPr>
        </p:nvSpPr>
        <p:spPr>
          <a:xfrm>
            <a:off x="838199" y="6299646"/>
            <a:ext cx="9930249" cy="25776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kern="700" spc="0" baseline="0">
                <a:solidFill>
                  <a:srgbClr val="00B050"/>
                </a:solidFill>
                <a:latin typeface="Teshrin AR+LT Bold" panose="02000000000000000000" pitchFamily="50" charset="-78"/>
                <a:ea typeface="Teshrin AR+LT Bold" panose="02000000000000000000" pitchFamily="50" charset="-78"/>
                <a:cs typeface="Teshrin AR+LT Bold" panose="02000000000000000000" pitchFamily="50" charset="-78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n-US" sz="12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  I </a:t>
            </a:r>
            <a:r>
              <a:rPr lang="ar-SA" sz="1200" b="1" dirty="0">
                <a:solidFill>
                  <a:srgbClr val="00B050"/>
                </a:solidFill>
                <a:latin typeface="HelveticaNeueLT Arabic 55 Roman" panose="020B0604020202020204" pitchFamily="34" charset="-78"/>
                <a:cs typeface="HelveticaNeueLT Arabic 55 Roman" panose="020B0604020202020204" pitchFamily="34" charset="-78"/>
              </a:rPr>
              <a:t>العوان</a:t>
            </a:r>
            <a:endParaRPr lang="en-PH" sz="1200" b="1" dirty="0">
              <a:solidFill>
                <a:srgbClr val="00B050"/>
              </a:solidFill>
              <a:latin typeface="HelveticaNeueLT Arabic 55 Roman" panose="020B0604020202020204" pitchFamily="34" charset="-78"/>
              <a:cs typeface="HelveticaNeueLT Arabic 55 Roman" panose="020B0604020202020204" pitchFamily="34" charset="-78"/>
            </a:endParaRP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13" hasCustomPrompt="1"/>
          </p:nvPr>
        </p:nvSpPr>
        <p:spPr>
          <a:xfrm>
            <a:off x="838200" y="6072704"/>
            <a:ext cx="9930249" cy="2188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kern="700" spc="0" baseline="0">
                <a:solidFill>
                  <a:srgbClr val="112C45"/>
                </a:solidFill>
                <a:latin typeface="Teshrin AR+LT Bold" panose="02000000000000000000" pitchFamily="50" charset="-78"/>
                <a:ea typeface="Teshrin AR+LT Bold" panose="02000000000000000000" pitchFamily="50" charset="-78"/>
                <a:cs typeface="Teshrin AR+LT Bold" panose="02000000000000000000" pitchFamily="50" charset="-78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24</a:t>
            </a:r>
            <a:r>
              <a:rPr lang="en-US" sz="1200" baseline="30000" dirty="0"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September 2019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10968" y="5997701"/>
            <a:ext cx="1235180" cy="650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199412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639822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38D18C3-132D-4EA9-A013-8C02F2367BA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err="1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591537" y="0"/>
            <a:ext cx="7600463" cy="5403547"/>
            <a:chOff x="4591537" y="0"/>
            <a:chExt cx="7600463" cy="5403547"/>
          </a:xfrm>
        </p:grpSpPr>
        <p:sp>
          <p:nvSpPr>
            <p:cNvPr id="32" name="Freeform 31"/>
            <p:cNvSpPr>
              <a:spLocks/>
            </p:cNvSpPr>
            <p:nvPr userDrawn="1"/>
          </p:nvSpPr>
          <p:spPr bwMode="ltGray">
            <a:xfrm>
              <a:off x="9672169" y="0"/>
              <a:ext cx="2519830" cy="5403547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5403547 h 5403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19830" h="5403547">
                  <a:moveTo>
                    <a:pt x="0" y="0"/>
                  </a:moveTo>
                  <a:lnTo>
                    <a:pt x="2519830" y="0"/>
                  </a:lnTo>
                  <a:lnTo>
                    <a:pt x="2519830" y="5403547"/>
                  </a:lnTo>
                  <a:close/>
                </a:path>
              </a:pathLst>
            </a:custGeom>
            <a:solidFill>
              <a:srgbClr val="AAD3A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E7F2E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ltGray">
            <a:xfrm>
              <a:off x="6445332" y="0"/>
              <a:ext cx="5507233" cy="4841081"/>
            </a:xfrm>
            <a:custGeom>
              <a:avLst/>
              <a:gdLst>
                <a:gd name="connsiteX0" fmla="*/ 0 w 5507233"/>
                <a:gd name="connsiteY0" fmla="*/ 0 h 4841081"/>
                <a:gd name="connsiteX1" fmla="*/ 610810 w 5507233"/>
                <a:gd name="connsiteY1" fmla="*/ 0 h 4841081"/>
                <a:gd name="connsiteX2" fmla="*/ 3981656 w 5507233"/>
                <a:gd name="connsiteY2" fmla="*/ 1569869 h 4841081"/>
                <a:gd name="connsiteX3" fmla="*/ 4665678 w 5507233"/>
                <a:gd name="connsiteY3" fmla="*/ 3036941 h 4841081"/>
                <a:gd name="connsiteX4" fmla="*/ 5507233 w 5507233"/>
                <a:gd name="connsiteY4" fmla="*/ 4841081 h 4841081"/>
                <a:gd name="connsiteX5" fmla="*/ 1349206 w 5507233"/>
                <a:gd name="connsiteY5" fmla="*/ 2911232 h 4841081"/>
                <a:gd name="connsiteX6" fmla="*/ 510415 w 5507233"/>
                <a:gd name="connsiteY6" fmla="*/ 1101566 h 4841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07233" h="4841081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4665678" y="3036941"/>
                  </a:lnTo>
                  <a:lnTo>
                    <a:pt x="5507233" y="4841081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C1DEC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ltGray">
            <a:xfrm>
              <a:off x="7057081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8AC5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CEE5C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</p:grp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611441" y="6340334"/>
            <a:ext cx="379578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>
                <a:solidFill>
                  <a:schemeClr val="accent6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611441" y="6493758"/>
            <a:ext cx="4038929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>
                <a:solidFill>
                  <a:schemeClr val="accent6"/>
                </a:solidFill>
                <a:latin typeface="+mn-lt"/>
              </a:rPr>
              <a:t>Last Modified 9/1/2021 9:10 AM Arab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611441" y="6647183"/>
            <a:ext cx="379578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 baseline="0">
                <a:solidFill>
                  <a:schemeClr val="accent6"/>
                </a:solidFill>
                <a:latin typeface="+mn-lt"/>
              </a:rPr>
              <a:t>Printed 29/12/2019 07:18 Arab Standard Time</a:t>
            </a:r>
            <a:endParaRPr lang="en-US" sz="900" baseline="0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ltGray">
          <a:xfrm>
            <a:off x="611441" y="542924"/>
            <a:ext cx="2688569" cy="841321"/>
          </a:xfrm>
          <a:prstGeom prst="rect">
            <a:avLst/>
          </a:prstGeom>
        </p:spPr>
      </p:pic>
      <p:cxnSp>
        <p:nvCxnSpPr>
          <p:cNvPr id="37" name="Straight Connector 36"/>
          <p:cNvCxnSpPr/>
          <p:nvPr userDrawn="1"/>
        </p:nvCxnSpPr>
        <p:spPr bwMode="auto">
          <a:xfrm>
            <a:off x="611441" y="6252508"/>
            <a:ext cx="5171091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  <p:sp>
        <p:nvSpPr>
          <p:cNvPr id="17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611441" y="2384443"/>
            <a:ext cx="6027484" cy="55399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3600" b="1" baseline="0">
                <a:solidFill>
                  <a:schemeClr val="accent3">
                    <a:lumMod val="75000"/>
                  </a:schemeClr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611442" y="4099796"/>
            <a:ext cx="6027484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0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auto">
          <a:xfrm>
            <a:off x="611441" y="5568928"/>
            <a:ext cx="60274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302821218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50469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779967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90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03718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0700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412">
          <p15:clr>
            <a:srgbClr val="000000"/>
          </p15:clr>
        </p15:guide>
        <p15:guide id="2" orient="horz" pos="582">
          <p15:clr>
            <a:srgbClr val="000000"/>
          </p15:clr>
        </p15:guide>
        <p15:guide id="3" orient="horz" pos="3991">
          <p15:clr>
            <a:srgbClr val="000000"/>
          </p15:clr>
        </p15:guide>
        <p15:guide id="4" pos="98">
          <p15:clr>
            <a:srgbClr val="00000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C974E7-A1D3-41A5-B97E-54F405541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1D8BF6-4A3A-451A-9E9B-03D5BB4DC73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975106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>
          <a:xfrm>
            <a:off x="550800" y="6192267"/>
            <a:ext cx="683583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51941" y="5774658"/>
            <a:ext cx="683583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1942" y="2210324"/>
            <a:ext cx="6835830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AB0CD9-1BA9-EDB1-4A11-C080FA1DF1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76418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AB0CD9-1BA9-EDB1-4A11-C080FA1DF1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8E58E711-6B1A-A4EE-E2D3-C799159CDD51}"/>
              </a:ext>
            </a:extLst>
          </p:cNvPr>
          <p:cNvGrpSpPr/>
          <p:nvPr userDrawn="1"/>
        </p:nvGrpSpPr>
        <p:grpSpPr bwMode="ltGray">
          <a:xfrm>
            <a:off x="-15898" y="-12038"/>
            <a:ext cx="12207898" cy="6870038"/>
            <a:chOff x="-15898" y="-12038"/>
            <a:chExt cx="12207898" cy="6870038"/>
          </a:xfrm>
        </p:grpSpPr>
        <p:pic>
          <p:nvPicPr>
            <p:cNvPr id="5" name="Picture 65" descr="About">
              <a:extLst>
                <a:ext uri="{FF2B5EF4-FFF2-40B4-BE49-F238E27FC236}">
                  <a16:creationId xmlns:a16="http://schemas.microsoft.com/office/drawing/2014/main" id="{39638C46-CEE4-DDFA-19AC-84AD1A43677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886" r="5521"/>
            <a:stretch/>
          </p:blipFill>
          <p:spPr bwMode="ltGray">
            <a:xfrm>
              <a:off x="-15898" y="0"/>
              <a:ext cx="12207898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E065A19-3D68-82C7-21F4-D09B8F4E36D3}"/>
                </a:ext>
              </a:extLst>
            </p:cNvPr>
            <p:cNvSpPr/>
            <p:nvPr/>
          </p:nvSpPr>
          <p:spPr bwMode="ltGray">
            <a:xfrm>
              <a:off x="-15898" y="0"/>
              <a:ext cx="12207898" cy="6858000"/>
            </a:xfrm>
            <a:prstGeom prst="rect">
              <a:avLst/>
            </a:prstGeom>
            <a:gradFill flip="none" rotWithShape="1">
              <a:gsLst>
                <a:gs pos="18000">
                  <a:srgbClr val="3F6B39">
                    <a:alpha val="86000"/>
                  </a:srgbClr>
                </a:gs>
                <a:gs pos="100000">
                  <a:srgbClr val="3F6B39">
                    <a:alpha val="35000"/>
                  </a:srgbClr>
                </a:gs>
              </a:gsLst>
              <a:lin ang="0" scaled="1"/>
              <a:tileRect/>
            </a:gradFill>
            <a:ln w="9525" cap="flat" cmpd="sng" algn="ctr">
              <a:solidFill>
                <a:srgbClr val="3F6B39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Group 1">
              <a:extLst>
                <a:ext uri="{FF2B5EF4-FFF2-40B4-BE49-F238E27FC236}">
                  <a16:creationId xmlns:a16="http://schemas.microsoft.com/office/drawing/2014/main" id="{C90B576D-2FB6-20CB-8320-2D5FE8639A90}"/>
                </a:ext>
              </a:extLst>
            </p:cNvPr>
            <p:cNvSpPr>
              <a:spLocks/>
            </p:cNvSpPr>
            <p:nvPr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FFFFFF">
                <a:alpha val="36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9" name="Freeform 34">
              <a:extLst>
                <a:ext uri="{FF2B5EF4-FFF2-40B4-BE49-F238E27FC236}">
                  <a16:creationId xmlns:a16="http://schemas.microsoft.com/office/drawing/2014/main" id="{8A49AE16-D8A4-3006-BAF3-E7EBDAAB51B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7057081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Freeform 35">
              <a:extLst>
                <a:ext uri="{FF2B5EF4-FFF2-40B4-BE49-F238E27FC236}">
                  <a16:creationId xmlns:a16="http://schemas.microsoft.com/office/drawing/2014/main" id="{69533352-BF86-346F-5B6C-7A747A17BC73}"/>
                </a:ext>
              </a:extLst>
            </p:cNvPr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doc id">
              <a:extLst>
                <a:ext uri="{FF2B5EF4-FFF2-40B4-BE49-F238E27FC236}">
                  <a16:creationId xmlns:a16="http://schemas.microsoft.com/office/drawing/2014/main" id="{25775342-417E-83AE-F867-1336A03898EB}"/>
                </a:ext>
              </a:extLst>
            </p:cNvPr>
            <p:cNvSpPr>
              <a:spLocks noChangeArrowheads="1"/>
            </p:cNvSpPr>
            <p:nvPr/>
          </p:nvSpPr>
          <p:spPr bwMode="ltGray">
            <a:xfrm>
              <a:off x="11064591" y="51833"/>
              <a:ext cx="894152" cy="1247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marL="0" marR="0" lvl="0" indent="0" algn="r" defTabSz="9135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16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CE562F68-D570-4CA4-D906-B2DC50C8C045}"/>
                </a:ext>
              </a:extLst>
            </p:cNvPr>
            <p:cNvSpPr>
              <a:spLocks/>
            </p:cNvSpPr>
            <p:nvPr/>
          </p:nvSpPr>
          <p:spPr bwMode="ltGray">
            <a:xfrm>
              <a:off x="10427596" y="1569403"/>
              <a:ext cx="1764404" cy="3834145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1 h 5403547"/>
                <a:gd name="connsiteX3" fmla="*/ 23964 w 2519830"/>
                <a:gd name="connsiteY3" fmla="*/ 1 h 5403547"/>
                <a:gd name="connsiteX4" fmla="*/ 755426 w 2519830"/>
                <a:gd name="connsiteY4" fmla="*/ 1569402 h 5403547"/>
                <a:gd name="connsiteX5" fmla="*/ 2519830 w 2519830"/>
                <a:gd name="connsiteY5" fmla="*/ 2390793 h 5403547"/>
                <a:gd name="connsiteX6" fmla="*/ 2519830 w 2519830"/>
                <a:gd name="connsiteY6" fmla="*/ 5403547 h 5403547"/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3964 w 2519830"/>
                <a:gd name="connsiteY2" fmla="*/ 1 h 5403547"/>
                <a:gd name="connsiteX3" fmla="*/ 755426 w 2519830"/>
                <a:gd name="connsiteY3" fmla="*/ 1569402 h 5403547"/>
                <a:gd name="connsiteX4" fmla="*/ 2519830 w 2519830"/>
                <a:gd name="connsiteY4" fmla="*/ 2390793 h 5403547"/>
                <a:gd name="connsiteX5" fmla="*/ 2519830 w 2519830"/>
                <a:gd name="connsiteY5" fmla="*/ 5403547 h 5403547"/>
                <a:gd name="connsiteX6" fmla="*/ 0 w 2519830"/>
                <a:gd name="connsiteY6" fmla="*/ 0 h 5403547"/>
                <a:gd name="connsiteX0" fmla="*/ 0 w 2519830"/>
                <a:gd name="connsiteY0" fmla="*/ 0 h 5403547"/>
                <a:gd name="connsiteX1" fmla="*/ 23964 w 2519830"/>
                <a:gd name="connsiteY1" fmla="*/ 1 h 5403547"/>
                <a:gd name="connsiteX2" fmla="*/ 755426 w 2519830"/>
                <a:gd name="connsiteY2" fmla="*/ 1569402 h 5403547"/>
                <a:gd name="connsiteX3" fmla="*/ 2519830 w 2519830"/>
                <a:gd name="connsiteY3" fmla="*/ 2390793 h 5403547"/>
                <a:gd name="connsiteX4" fmla="*/ 2519830 w 2519830"/>
                <a:gd name="connsiteY4" fmla="*/ 5403547 h 5403547"/>
                <a:gd name="connsiteX5" fmla="*/ 0 w 2519830"/>
                <a:gd name="connsiteY5" fmla="*/ 0 h 5403547"/>
                <a:gd name="connsiteX0" fmla="*/ 2495866 w 2495866"/>
                <a:gd name="connsiteY0" fmla="*/ 5403546 h 5403546"/>
                <a:gd name="connsiteX1" fmla="*/ 0 w 2495866"/>
                <a:gd name="connsiteY1" fmla="*/ 0 h 5403546"/>
                <a:gd name="connsiteX2" fmla="*/ 731462 w 2495866"/>
                <a:gd name="connsiteY2" fmla="*/ 1569401 h 5403546"/>
                <a:gd name="connsiteX3" fmla="*/ 2495866 w 2495866"/>
                <a:gd name="connsiteY3" fmla="*/ 2390792 h 5403546"/>
                <a:gd name="connsiteX4" fmla="*/ 2495866 w 2495866"/>
                <a:gd name="connsiteY4" fmla="*/ 5403546 h 5403546"/>
                <a:gd name="connsiteX0" fmla="*/ 1764404 w 1764404"/>
                <a:gd name="connsiteY0" fmla="*/ 3834145 h 3834145"/>
                <a:gd name="connsiteX1" fmla="*/ 0 w 1764404"/>
                <a:gd name="connsiteY1" fmla="*/ 0 h 3834145"/>
                <a:gd name="connsiteX2" fmla="*/ 1764404 w 1764404"/>
                <a:gd name="connsiteY2" fmla="*/ 821391 h 3834145"/>
                <a:gd name="connsiteX3" fmla="*/ 1764404 w 1764404"/>
                <a:gd name="connsiteY3" fmla="*/ 3834145 h 3834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64404" h="3834145">
                  <a:moveTo>
                    <a:pt x="1764404" y="3834145"/>
                  </a:moveTo>
                  <a:lnTo>
                    <a:pt x="0" y="0"/>
                  </a:lnTo>
                  <a:lnTo>
                    <a:pt x="1764404" y="821391"/>
                  </a:lnTo>
                  <a:lnTo>
                    <a:pt x="1764404" y="3834145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43F07E6A-EA10-8C4D-90C9-836A9EA4321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 bwMode="ltGray">
            <a:xfrm>
              <a:off x="611441" y="542924"/>
              <a:ext cx="2688569" cy="841321"/>
            </a:xfrm>
            <a:prstGeom prst="rect">
              <a:avLst/>
            </a:prstGeom>
          </p:spPr>
        </p:pic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945212F-1B29-DA1E-BB6C-ACBFC42B1273}"/>
                </a:ext>
              </a:extLst>
            </p:cNvPr>
            <p:cNvSpPr>
              <a:spLocks/>
            </p:cNvSpPr>
            <p:nvPr/>
          </p:nvSpPr>
          <p:spPr bwMode="ltGray">
            <a:xfrm>
              <a:off x="6443063" y="-12038"/>
              <a:ext cx="5474706" cy="4825984"/>
            </a:xfrm>
            <a:custGeom>
              <a:avLst/>
              <a:gdLst>
                <a:gd name="connsiteX0" fmla="*/ 0 w 5474706"/>
                <a:gd name="connsiteY0" fmla="*/ 0 h 4825984"/>
                <a:gd name="connsiteX1" fmla="*/ 610810 w 5474706"/>
                <a:gd name="connsiteY1" fmla="*/ 0 h 4825984"/>
                <a:gd name="connsiteX2" fmla="*/ 3981656 w 5474706"/>
                <a:gd name="connsiteY2" fmla="*/ 1569869 h 4825984"/>
                <a:gd name="connsiteX3" fmla="*/ 3982923 w 5474706"/>
                <a:gd name="connsiteY3" fmla="*/ 1572586 h 4825984"/>
                <a:gd name="connsiteX4" fmla="*/ 3976086 w 5474706"/>
                <a:gd name="connsiteY4" fmla="*/ 1569403 h 4825984"/>
                <a:gd name="connsiteX5" fmla="*/ 5474706 w 5474706"/>
                <a:gd name="connsiteY5" fmla="*/ 4825984 h 4825984"/>
                <a:gd name="connsiteX6" fmla="*/ 1349206 w 5474706"/>
                <a:gd name="connsiteY6" fmla="*/ 2911232 h 4825984"/>
                <a:gd name="connsiteX7" fmla="*/ 510415 w 5474706"/>
                <a:gd name="connsiteY7" fmla="*/ 1101566 h 4825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474706" h="4825984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3982923" y="1572586"/>
                  </a:lnTo>
                  <a:lnTo>
                    <a:pt x="3976086" y="1569403"/>
                  </a:lnTo>
                  <a:lnTo>
                    <a:pt x="5474706" y="4825984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9628204E-9659-C3ED-0BAC-90A8166C265D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880181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F410B2-D16A-4459-A59C-B8C755147317}" type="datetime1">
              <a:rPr lang="en-US" smtClean="0"/>
              <a:t>12/15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BEBEBE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20"/>
              <a:t>Page </a:t>
            </a:r>
            <a:r>
              <a:rPr spc="-30"/>
              <a:t>|</a:t>
            </a:r>
            <a:r>
              <a:rPr spc="150"/>
              <a:t> </a:t>
            </a:r>
            <a:fld id="{81D60167-4931-47E6-BA6A-407CBD079E47}" type="slidenum">
              <a:rPr spc="-30" dirty="0"/>
              <a:t>‹#›</a:t>
            </a:fld>
            <a:endParaRPr spc="-30"/>
          </a:p>
        </p:txBody>
      </p:sp>
    </p:spTree>
    <p:extLst>
      <p:ext uri="{BB962C8B-B14F-4D97-AF65-F5344CB8AC3E}">
        <p14:creationId xmlns:p14="http://schemas.microsoft.com/office/powerpoint/2010/main" val="40720625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6805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FC6334AE-8D78-4A76-A627-5E9B347EF0CE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362988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id="{92C269B7-8CC9-12AD-22BA-C0833C0559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327626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id="{92C269B7-8CC9-12AD-22BA-C0833C0559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EB1C1276-7C36-4B90-E2FA-9DDE37A58B08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482B7AD4-3A20-417A-CE32-E74B55061B9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83ACE5CF-47AE-4813-D59C-1AC343E48991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63626302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0" i="0">
                <a:solidFill>
                  <a:srgbClr val="87C58F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852932" y="1578991"/>
            <a:ext cx="4142104" cy="41636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50" b="0" i="0">
                <a:solidFill>
                  <a:srgbClr val="383838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2C375C-1FED-4E71-8F40-2826D292AA24}" type="datetime1">
              <a:rPr lang="en-US" smtClean="0"/>
              <a:t>12/15/2023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BEBEBE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20"/>
              <a:t>Page </a:t>
            </a:r>
            <a:r>
              <a:rPr spc="-30"/>
              <a:t>|</a:t>
            </a:r>
            <a:r>
              <a:rPr spc="150"/>
              <a:t> </a:t>
            </a:r>
            <a:fld id="{81D60167-4931-47E6-BA6A-407CBD079E47}" type="slidenum">
              <a:rPr spc="-30" dirty="0"/>
              <a:t>‹#›</a:t>
            </a:fld>
            <a:endParaRPr spc="-30"/>
          </a:p>
        </p:txBody>
      </p:sp>
    </p:spTree>
    <p:extLst>
      <p:ext uri="{BB962C8B-B14F-4D97-AF65-F5344CB8AC3E}">
        <p14:creationId xmlns:p14="http://schemas.microsoft.com/office/powerpoint/2010/main" val="101425598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0747723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38D18C3-132D-4EA9-A013-8C02F2367BA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err="1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591537" y="0"/>
            <a:ext cx="7600463" cy="5403547"/>
            <a:chOff x="4591537" y="0"/>
            <a:chExt cx="7600463" cy="5403547"/>
          </a:xfrm>
        </p:grpSpPr>
        <p:sp>
          <p:nvSpPr>
            <p:cNvPr id="32" name="Freeform 31"/>
            <p:cNvSpPr>
              <a:spLocks/>
            </p:cNvSpPr>
            <p:nvPr userDrawn="1"/>
          </p:nvSpPr>
          <p:spPr bwMode="ltGray">
            <a:xfrm>
              <a:off x="9672169" y="0"/>
              <a:ext cx="2519830" cy="5403547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5403547 h 5403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19830" h="5403547">
                  <a:moveTo>
                    <a:pt x="0" y="0"/>
                  </a:moveTo>
                  <a:lnTo>
                    <a:pt x="2519830" y="0"/>
                  </a:lnTo>
                  <a:lnTo>
                    <a:pt x="2519830" y="5403547"/>
                  </a:lnTo>
                  <a:close/>
                </a:path>
              </a:pathLst>
            </a:custGeom>
            <a:solidFill>
              <a:srgbClr val="AAD3A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E7F2E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ltGray">
            <a:xfrm>
              <a:off x="6445332" y="0"/>
              <a:ext cx="5507233" cy="4841081"/>
            </a:xfrm>
            <a:custGeom>
              <a:avLst/>
              <a:gdLst>
                <a:gd name="connsiteX0" fmla="*/ 0 w 5507233"/>
                <a:gd name="connsiteY0" fmla="*/ 0 h 4841081"/>
                <a:gd name="connsiteX1" fmla="*/ 610810 w 5507233"/>
                <a:gd name="connsiteY1" fmla="*/ 0 h 4841081"/>
                <a:gd name="connsiteX2" fmla="*/ 3981656 w 5507233"/>
                <a:gd name="connsiteY2" fmla="*/ 1569869 h 4841081"/>
                <a:gd name="connsiteX3" fmla="*/ 4665678 w 5507233"/>
                <a:gd name="connsiteY3" fmla="*/ 3036941 h 4841081"/>
                <a:gd name="connsiteX4" fmla="*/ 5507233 w 5507233"/>
                <a:gd name="connsiteY4" fmla="*/ 4841081 h 4841081"/>
                <a:gd name="connsiteX5" fmla="*/ 1349206 w 5507233"/>
                <a:gd name="connsiteY5" fmla="*/ 2911232 h 4841081"/>
                <a:gd name="connsiteX6" fmla="*/ 510415 w 5507233"/>
                <a:gd name="connsiteY6" fmla="*/ 1101566 h 4841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07233" h="4841081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4665678" y="3036941"/>
                  </a:lnTo>
                  <a:lnTo>
                    <a:pt x="5507233" y="4841081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C1DEC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ltGray">
            <a:xfrm>
              <a:off x="7057081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8AC5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CEE5C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</p:grp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611441" y="6340334"/>
            <a:ext cx="379578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>
                <a:solidFill>
                  <a:schemeClr val="accent6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611441" y="6493758"/>
            <a:ext cx="4038929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>
                <a:solidFill>
                  <a:schemeClr val="accent6"/>
                </a:solidFill>
                <a:latin typeface="+mn-lt"/>
              </a:rPr>
              <a:t>Last Modified 9/1/2021 9:10 AM Arab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611441" y="6647183"/>
            <a:ext cx="379578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 baseline="0">
                <a:solidFill>
                  <a:schemeClr val="accent6"/>
                </a:solidFill>
                <a:latin typeface="+mn-lt"/>
              </a:rPr>
              <a:t>Printed 29/12/2019 07:18 Arab Standard Time</a:t>
            </a:r>
            <a:endParaRPr lang="en-US" sz="900" baseline="0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ltGray">
          <a:xfrm>
            <a:off x="611441" y="542924"/>
            <a:ext cx="2688569" cy="841321"/>
          </a:xfrm>
          <a:prstGeom prst="rect">
            <a:avLst/>
          </a:prstGeom>
        </p:spPr>
      </p:pic>
      <p:cxnSp>
        <p:nvCxnSpPr>
          <p:cNvPr id="37" name="Straight Connector 36"/>
          <p:cNvCxnSpPr/>
          <p:nvPr userDrawn="1"/>
        </p:nvCxnSpPr>
        <p:spPr bwMode="auto">
          <a:xfrm>
            <a:off x="611441" y="6252508"/>
            <a:ext cx="5171091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  <p:sp>
        <p:nvSpPr>
          <p:cNvPr id="17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611441" y="2384443"/>
            <a:ext cx="6027484" cy="55399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3600" b="1" baseline="0">
                <a:solidFill>
                  <a:schemeClr val="accent3">
                    <a:lumMod val="75000"/>
                  </a:schemeClr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611442" y="4099796"/>
            <a:ext cx="6027484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0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auto">
          <a:xfrm>
            <a:off x="611441" y="5568928"/>
            <a:ext cx="60274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174185644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52040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648727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90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87326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42746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412">
          <p15:clr>
            <a:srgbClr val="000000"/>
          </p15:clr>
        </p15:guide>
        <p15:guide id="2" orient="horz" pos="582">
          <p15:clr>
            <a:srgbClr val="000000"/>
          </p15:clr>
        </p15:guide>
        <p15:guide id="3" orient="horz" pos="3991">
          <p15:clr>
            <a:srgbClr val="000000"/>
          </p15:clr>
        </p15:guide>
        <p15:guide id="4" pos="98">
          <p15:clr>
            <a:srgbClr val="00000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C974E7-A1D3-41A5-B97E-54F405541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1D8BF6-4A3A-451A-9E9B-03D5BB4DC73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444369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DDF49A9-97BB-4220-9745-DCC80746B6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1"/>
            <a:ext cx="12192000" cy="6857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851F5D36-4311-42F7-8CE3-6E04971CAD67}"/>
              </a:ext>
            </a:extLst>
          </p:cNvPr>
          <p:cNvSpPr/>
          <p:nvPr userDrawn="1"/>
        </p:nvSpPr>
        <p:spPr>
          <a:xfrm>
            <a:off x="1170946" y="1289048"/>
            <a:ext cx="6894530" cy="4279901"/>
          </a:xfrm>
          <a:prstGeom prst="rect">
            <a:avLst/>
          </a:prstGeom>
          <a:solidFill>
            <a:schemeClr val="bg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58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D2F8FE3-BE5B-470E-A445-C440629E4DE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ltGray">
          <a:xfrm>
            <a:off x="243707" y="241358"/>
            <a:ext cx="2444154" cy="764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482222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614243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726814"/>
            <a:endParaRPr lang="en-US" sz="650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430570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90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>
          <a:xfrm>
            <a:off x="550800" y="6192267"/>
            <a:ext cx="683583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51941" y="5774658"/>
            <a:ext cx="683583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1942" y="2210324"/>
            <a:ext cx="6835830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AB0CD9-1BA9-EDB1-4A11-C080FA1DF1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76418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AB0CD9-1BA9-EDB1-4A11-C080FA1DF1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8E58E711-6B1A-A4EE-E2D3-C799159CDD51}"/>
              </a:ext>
            </a:extLst>
          </p:cNvPr>
          <p:cNvGrpSpPr/>
          <p:nvPr userDrawn="1"/>
        </p:nvGrpSpPr>
        <p:grpSpPr bwMode="ltGray">
          <a:xfrm>
            <a:off x="-15898" y="-12038"/>
            <a:ext cx="12207898" cy="6870038"/>
            <a:chOff x="-15898" y="-12038"/>
            <a:chExt cx="12207898" cy="6870038"/>
          </a:xfrm>
        </p:grpSpPr>
        <p:pic>
          <p:nvPicPr>
            <p:cNvPr id="5" name="Picture 65" descr="About">
              <a:extLst>
                <a:ext uri="{FF2B5EF4-FFF2-40B4-BE49-F238E27FC236}">
                  <a16:creationId xmlns:a16="http://schemas.microsoft.com/office/drawing/2014/main" id="{39638C46-CEE4-DDFA-19AC-84AD1A43677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886" r="5521"/>
            <a:stretch/>
          </p:blipFill>
          <p:spPr bwMode="ltGray">
            <a:xfrm>
              <a:off x="-15898" y="0"/>
              <a:ext cx="12207898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E065A19-3D68-82C7-21F4-D09B8F4E36D3}"/>
                </a:ext>
              </a:extLst>
            </p:cNvPr>
            <p:cNvSpPr/>
            <p:nvPr/>
          </p:nvSpPr>
          <p:spPr bwMode="ltGray">
            <a:xfrm>
              <a:off x="-15898" y="0"/>
              <a:ext cx="12207898" cy="6858000"/>
            </a:xfrm>
            <a:prstGeom prst="rect">
              <a:avLst/>
            </a:prstGeom>
            <a:gradFill flip="none" rotWithShape="1">
              <a:gsLst>
                <a:gs pos="18000">
                  <a:srgbClr val="3F6B39">
                    <a:alpha val="86000"/>
                  </a:srgbClr>
                </a:gs>
                <a:gs pos="100000">
                  <a:srgbClr val="3F6B39">
                    <a:alpha val="35000"/>
                  </a:srgbClr>
                </a:gs>
              </a:gsLst>
              <a:lin ang="0" scaled="1"/>
              <a:tileRect/>
            </a:gradFill>
            <a:ln w="9525" cap="flat" cmpd="sng" algn="ctr">
              <a:solidFill>
                <a:srgbClr val="3F6B39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Group 1">
              <a:extLst>
                <a:ext uri="{FF2B5EF4-FFF2-40B4-BE49-F238E27FC236}">
                  <a16:creationId xmlns:a16="http://schemas.microsoft.com/office/drawing/2014/main" id="{C90B576D-2FB6-20CB-8320-2D5FE8639A90}"/>
                </a:ext>
              </a:extLst>
            </p:cNvPr>
            <p:cNvSpPr>
              <a:spLocks/>
            </p:cNvSpPr>
            <p:nvPr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FFFFFF">
                <a:alpha val="36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9" name="Freeform 34">
              <a:extLst>
                <a:ext uri="{FF2B5EF4-FFF2-40B4-BE49-F238E27FC236}">
                  <a16:creationId xmlns:a16="http://schemas.microsoft.com/office/drawing/2014/main" id="{8A49AE16-D8A4-3006-BAF3-E7EBDAAB51B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7057081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Freeform 35">
              <a:extLst>
                <a:ext uri="{FF2B5EF4-FFF2-40B4-BE49-F238E27FC236}">
                  <a16:creationId xmlns:a16="http://schemas.microsoft.com/office/drawing/2014/main" id="{69533352-BF86-346F-5B6C-7A747A17BC73}"/>
                </a:ext>
              </a:extLst>
            </p:cNvPr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doc id">
              <a:extLst>
                <a:ext uri="{FF2B5EF4-FFF2-40B4-BE49-F238E27FC236}">
                  <a16:creationId xmlns:a16="http://schemas.microsoft.com/office/drawing/2014/main" id="{25775342-417E-83AE-F867-1336A03898EB}"/>
                </a:ext>
              </a:extLst>
            </p:cNvPr>
            <p:cNvSpPr>
              <a:spLocks noChangeArrowheads="1"/>
            </p:cNvSpPr>
            <p:nvPr/>
          </p:nvSpPr>
          <p:spPr bwMode="ltGray">
            <a:xfrm>
              <a:off x="11064591" y="51833"/>
              <a:ext cx="894152" cy="1247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marL="0" marR="0" lvl="0" indent="0" algn="r" defTabSz="9135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16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CE562F68-D570-4CA4-D906-B2DC50C8C045}"/>
                </a:ext>
              </a:extLst>
            </p:cNvPr>
            <p:cNvSpPr>
              <a:spLocks/>
            </p:cNvSpPr>
            <p:nvPr/>
          </p:nvSpPr>
          <p:spPr bwMode="ltGray">
            <a:xfrm>
              <a:off x="10427596" y="1569403"/>
              <a:ext cx="1764404" cy="3834145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1 h 5403547"/>
                <a:gd name="connsiteX3" fmla="*/ 23964 w 2519830"/>
                <a:gd name="connsiteY3" fmla="*/ 1 h 5403547"/>
                <a:gd name="connsiteX4" fmla="*/ 755426 w 2519830"/>
                <a:gd name="connsiteY4" fmla="*/ 1569402 h 5403547"/>
                <a:gd name="connsiteX5" fmla="*/ 2519830 w 2519830"/>
                <a:gd name="connsiteY5" fmla="*/ 2390793 h 5403547"/>
                <a:gd name="connsiteX6" fmla="*/ 2519830 w 2519830"/>
                <a:gd name="connsiteY6" fmla="*/ 5403547 h 5403547"/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3964 w 2519830"/>
                <a:gd name="connsiteY2" fmla="*/ 1 h 5403547"/>
                <a:gd name="connsiteX3" fmla="*/ 755426 w 2519830"/>
                <a:gd name="connsiteY3" fmla="*/ 1569402 h 5403547"/>
                <a:gd name="connsiteX4" fmla="*/ 2519830 w 2519830"/>
                <a:gd name="connsiteY4" fmla="*/ 2390793 h 5403547"/>
                <a:gd name="connsiteX5" fmla="*/ 2519830 w 2519830"/>
                <a:gd name="connsiteY5" fmla="*/ 5403547 h 5403547"/>
                <a:gd name="connsiteX6" fmla="*/ 0 w 2519830"/>
                <a:gd name="connsiteY6" fmla="*/ 0 h 5403547"/>
                <a:gd name="connsiteX0" fmla="*/ 0 w 2519830"/>
                <a:gd name="connsiteY0" fmla="*/ 0 h 5403547"/>
                <a:gd name="connsiteX1" fmla="*/ 23964 w 2519830"/>
                <a:gd name="connsiteY1" fmla="*/ 1 h 5403547"/>
                <a:gd name="connsiteX2" fmla="*/ 755426 w 2519830"/>
                <a:gd name="connsiteY2" fmla="*/ 1569402 h 5403547"/>
                <a:gd name="connsiteX3" fmla="*/ 2519830 w 2519830"/>
                <a:gd name="connsiteY3" fmla="*/ 2390793 h 5403547"/>
                <a:gd name="connsiteX4" fmla="*/ 2519830 w 2519830"/>
                <a:gd name="connsiteY4" fmla="*/ 5403547 h 5403547"/>
                <a:gd name="connsiteX5" fmla="*/ 0 w 2519830"/>
                <a:gd name="connsiteY5" fmla="*/ 0 h 5403547"/>
                <a:gd name="connsiteX0" fmla="*/ 2495866 w 2495866"/>
                <a:gd name="connsiteY0" fmla="*/ 5403546 h 5403546"/>
                <a:gd name="connsiteX1" fmla="*/ 0 w 2495866"/>
                <a:gd name="connsiteY1" fmla="*/ 0 h 5403546"/>
                <a:gd name="connsiteX2" fmla="*/ 731462 w 2495866"/>
                <a:gd name="connsiteY2" fmla="*/ 1569401 h 5403546"/>
                <a:gd name="connsiteX3" fmla="*/ 2495866 w 2495866"/>
                <a:gd name="connsiteY3" fmla="*/ 2390792 h 5403546"/>
                <a:gd name="connsiteX4" fmla="*/ 2495866 w 2495866"/>
                <a:gd name="connsiteY4" fmla="*/ 5403546 h 5403546"/>
                <a:gd name="connsiteX0" fmla="*/ 1764404 w 1764404"/>
                <a:gd name="connsiteY0" fmla="*/ 3834145 h 3834145"/>
                <a:gd name="connsiteX1" fmla="*/ 0 w 1764404"/>
                <a:gd name="connsiteY1" fmla="*/ 0 h 3834145"/>
                <a:gd name="connsiteX2" fmla="*/ 1764404 w 1764404"/>
                <a:gd name="connsiteY2" fmla="*/ 821391 h 3834145"/>
                <a:gd name="connsiteX3" fmla="*/ 1764404 w 1764404"/>
                <a:gd name="connsiteY3" fmla="*/ 3834145 h 3834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64404" h="3834145">
                  <a:moveTo>
                    <a:pt x="1764404" y="3834145"/>
                  </a:moveTo>
                  <a:lnTo>
                    <a:pt x="0" y="0"/>
                  </a:lnTo>
                  <a:lnTo>
                    <a:pt x="1764404" y="821391"/>
                  </a:lnTo>
                  <a:lnTo>
                    <a:pt x="1764404" y="3834145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43F07E6A-EA10-8C4D-90C9-836A9EA4321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 bwMode="ltGray">
            <a:xfrm>
              <a:off x="611441" y="542924"/>
              <a:ext cx="2688569" cy="841321"/>
            </a:xfrm>
            <a:prstGeom prst="rect">
              <a:avLst/>
            </a:prstGeom>
          </p:spPr>
        </p:pic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945212F-1B29-DA1E-BB6C-ACBFC42B1273}"/>
                </a:ext>
              </a:extLst>
            </p:cNvPr>
            <p:cNvSpPr>
              <a:spLocks/>
            </p:cNvSpPr>
            <p:nvPr/>
          </p:nvSpPr>
          <p:spPr bwMode="ltGray">
            <a:xfrm>
              <a:off x="6443063" y="-12038"/>
              <a:ext cx="5474706" cy="4825984"/>
            </a:xfrm>
            <a:custGeom>
              <a:avLst/>
              <a:gdLst>
                <a:gd name="connsiteX0" fmla="*/ 0 w 5474706"/>
                <a:gd name="connsiteY0" fmla="*/ 0 h 4825984"/>
                <a:gd name="connsiteX1" fmla="*/ 610810 w 5474706"/>
                <a:gd name="connsiteY1" fmla="*/ 0 h 4825984"/>
                <a:gd name="connsiteX2" fmla="*/ 3981656 w 5474706"/>
                <a:gd name="connsiteY2" fmla="*/ 1569869 h 4825984"/>
                <a:gd name="connsiteX3" fmla="*/ 3982923 w 5474706"/>
                <a:gd name="connsiteY3" fmla="*/ 1572586 h 4825984"/>
                <a:gd name="connsiteX4" fmla="*/ 3976086 w 5474706"/>
                <a:gd name="connsiteY4" fmla="*/ 1569403 h 4825984"/>
                <a:gd name="connsiteX5" fmla="*/ 5474706 w 5474706"/>
                <a:gd name="connsiteY5" fmla="*/ 4825984 h 4825984"/>
                <a:gd name="connsiteX6" fmla="*/ 1349206 w 5474706"/>
                <a:gd name="connsiteY6" fmla="*/ 2911232 h 4825984"/>
                <a:gd name="connsiteX7" fmla="*/ 510415 w 5474706"/>
                <a:gd name="connsiteY7" fmla="*/ 1101566 h 4825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474706" h="4825984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3982923" y="1572586"/>
                  </a:lnTo>
                  <a:lnTo>
                    <a:pt x="3976086" y="1569403"/>
                  </a:lnTo>
                  <a:lnTo>
                    <a:pt x="5474706" y="4825984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9628204E-9659-C3ED-0BAC-90A8166C265D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155744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C2DC3B-555B-46D3-9C82-83C4B92E3C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CCCE22-1493-4319-81E7-7DF99C65F0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24779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9915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C56963FF-ADBA-477A-8328-4F16B44471E4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7889876-BA05-49A2-8294-D779E2868DC3}"/>
              </a:ext>
            </a:extLst>
          </p:cNvPr>
          <p:cNvPicPr>
            <a:picLocks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9743089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F77FF6-3A12-490D-911B-BB9D8DC3731D}" type="datetime1">
              <a:rPr lang="en-US" smtClean="0"/>
              <a:t>12/15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BEBEBE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20"/>
              <a:t>Page </a:t>
            </a:r>
            <a:r>
              <a:rPr spc="-30"/>
              <a:t>|</a:t>
            </a:r>
            <a:r>
              <a:rPr spc="150"/>
              <a:t> </a:t>
            </a:r>
            <a:fld id="{81D60167-4931-47E6-BA6A-407CBD079E47}" type="slidenum">
              <a:rPr spc="-30" dirty="0"/>
              <a:t>‹#›</a:t>
            </a:fld>
            <a:endParaRPr spc="-30"/>
          </a:p>
        </p:txBody>
      </p:sp>
    </p:spTree>
    <p:extLst>
      <p:ext uri="{BB962C8B-B14F-4D97-AF65-F5344CB8AC3E}">
        <p14:creationId xmlns:p14="http://schemas.microsoft.com/office/powerpoint/2010/main" val="87112833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id="{92C269B7-8CC9-12AD-22BA-C0833C0559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327626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id="{92C269B7-8CC9-12AD-22BA-C0833C0559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EB1C1276-7C36-4B90-E2FA-9DDE37A58B08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482B7AD4-3A20-417A-CE32-E74B55061B9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83ACE5CF-47AE-4813-D59C-1AC343E48991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77493921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0" i="0">
                <a:solidFill>
                  <a:srgbClr val="87C58F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852932" y="1578991"/>
            <a:ext cx="4142104" cy="41636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50" b="0" i="0">
                <a:solidFill>
                  <a:srgbClr val="383838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618D565-88C0-4AA6-B6E6-6402D6232D8C}" type="datetime1">
              <a:rPr lang="en-US" smtClean="0"/>
              <a:t>12/15/2023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BEBEBE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20"/>
              <a:t>Page </a:t>
            </a:r>
            <a:r>
              <a:rPr spc="-30"/>
              <a:t>|</a:t>
            </a:r>
            <a:r>
              <a:rPr spc="150"/>
              <a:t> </a:t>
            </a:r>
            <a:fld id="{81D60167-4931-47E6-BA6A-407CBD079E47}" type="slidenum">
              <a:rPr spc="-30" dirty="0"/>
              <a:t>‹#›</a:t>
            </a:fld>
            <a:endParaRPr spc="-30"/>
          </a:p>
        </p:txBody>
      </p:sp>
    </p:spTree>
    <p:extLst>
      <p:ext uri="{BB962C8B-B14F-4D97-AF65-F5344CB8AC3E}">
        <p14:creationId xmlns:p14="http://schemas.microsoft.com/office/powerpoint/2010/main" val="286979821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8259569"/>
              </p:ext>
            </p:ext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38D18C3-132D-4EA9-A013-8C02F2367BA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64" b="1" i="0" baseline="0" err="1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591537" y="1"/>
            <a:ext cx="7600463" cy="5403547"/>
            <a:chOff x="4591537" y="0"/>
            <a:chExt cx="7600463" cy="5403547"/>
          </a:xfrm>
        </p:grpSpPr>
        <p:sp>
          <p:nvSpPr>
            <p:cNvPr id="32" name="Freeform 31"/>
            <p:cNvSpPr>
              <a:spLocks/>
            </p:cNvSpPr>
            <p:nvPr userDrawn="1"/>
          </p:nvSpPr>
          <p:spPr bwMode="ltGray">
            <a:xfrm>
              <a:off x="9672169" y="0"/>
              <a:ext cx="2519830" cy="5403547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5403547 h 5403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19830" h="5403547">
                  <a:moveTo>
                    <a:pt x="0" y="0"/>
                  </a:moveTo>
                  <a:lnTo>
                    <a:pt x="2519830" y="0"/>
                  </a:lnTo>
                  <a:lnTo>
                    <a:pt x="2519830" y="5403547"/>
                  </a:lnTo>
                  <a:close/>
                </a:path>
              </a:pathLst>
            </a:custGeom>
            <a:solidFill>
              <a:srgbClr val="AAD3A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E7F2E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ltGray">
            <a:xfrm>
              <a:off x="6445332" y="0"/>
              <a:ext cx="5507233" cy="4841081"/>
            </a:xfrm>
            <a:custGeom>
              <a:avLst/>
              <a:gdLst>
                <a:gd name="connsiteX0" fmla="*/ 0 w 5507233"/>
                <a:gd name="connsiteY0" fmla="*/ 0 h 4841081"/>
                <a:gd name="connsiteX1" fmla="*/ 610810 w 5507233"/>
                <a:gd name="connsiteY1" fmla="*/ 0 h 4841081"/>
                <a:gd name="connsiteX2" fmla="*/ 3981656 w 5507233"/>
                <a:gd name="connsiteY2" fmla="*/ 1569869 h 4841081"/>
                <a:gd name="connsiteX3" fmla="*/ 4665678 w 5507233"/>
                <a:gd name="connsiteY3" fmla="*/ 3036941 h 4841081"/>
                <a:gd name="connsiteX4" fmla="*/ 5507233 w 5507233"/>
                <a:gd name="connsiteY4" fmla="*/ 4841081 h 4841081"/>
                <a:gd name="connsiteX5" fmla="*/ 1349206 w 5507233"/>
                <a:gd name="connsiteY5" fmla="*/ 2911232 h 4841081"/>
                <a:gd name="connsiteX6" fmla="*/ 510415 w 5507233"/>
                <a:gd name="connsiteY6" fmla="*/ 1101566 h 4841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07233" h="4841081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4665678" y="3036941"/>
                  </a:lnTo>
                  <a:lnTo>
                    <a:pt x="5507233" y="4841081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C1DEC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ltGray">
            <a:xfrm>
              <a:off x="7057081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8AC5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CEE5C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</p:grp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611442" y="6340334"/>
            <a:ext cx="3795784" cy="110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16" b="1" baseline="0">
                <a:solidFill>
                  <a:schemeClr val="accent6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611441" y="6493758"/>
            <a:ext cx="4038929" cy="110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16" baseline="0">
                <a:solidFill>
                  <a:schemeClr val="accent6"/>
                </a:solidFill>
                <a:latin typeface="+mn-lt"/>
              </a:rPr>
              <a:t>Last Modified 9/1/2021 9:10 AM Arab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611442" y="6647183"/>
            <a:ext cx="3795784" cy="110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716" baseline="0">
                <a:solidFill>
                  <a:schemeClr val="accent6"/>
                </a:solidFill>
                <a:latin typeface="+mn-lt"/>
              </a:rPr>
              <a:t>Printed 29/12/2019 07:18 Arab Standard Time</a:t>
            </a:r>
            <a:endParaRPr lang="en-US" sz="716" baseline="0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ltGray">
          <a:xfrm>
            <a:off x="611443" y="542925"/>
            <a:ext cx="2688569" cy="841321"/>
          </a:xfrm>
          <a:prstGeom prst="rect">
            <a:avLst/>
          </a:prstGeom>
        </p:spPr>
      </p:pic>
      <p:cxnSp>
        <p:nvCxnSpPr>
          <p:cNvPr id="37" name="Straight Connector 36"/>
          <p:cNvCxnSpPr/>
          <p:nvPr userDrawn="1"/>
        </p:nvCxnSpPr>
        <p:spPr bwMode="auto">
          <a:xfrm>
            <a:off x="611442" y="6252508"/>
            <a:ext cx="5171091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  <p:sp>
        <p:nvSpPr>
          <p:cNvPr id="17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726814"/>
            <a:endParaRPr lang="en-US" sz="650" baseline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611441" y="2384444"/>
            <a:ext cx="6027484" cy="440744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2864" b="1" baseline="0">
                <a:solidFill>
                  <a:schemeClr val="accent3">
                    <a:lumMod val="75000"/>
                  </a:schemeClr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611442" y="4099796"/>
            <a:ext cx="6027484" cy="3371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591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auto">
          <a:xfrm>
            <a:off x="611441" y="5619262"/>
            <a:ext cx="6027484" cy="19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273" baseline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221523179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91626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726814"/>
            <a:endParaRPr lang="en-US" sz="650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62334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90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151243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726814"/>
            <a:endParaRPr lang="en-US" sz="650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061460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412">
          <p15:clr>
            <a:srgbClr val="000000"/>
          </p15:clr>
        </p15:guide>
        <p15:guide id="2" orient="horz" pos="582">
          <p15:clr>
            <a:srgbClr val="000000"/>
          </p15:clr>
        </p15:guide>
        <p15:guide id="3" orient="horz" pos="3991">
          <p15:clr>
            <a:srgbClr val="000000"/>
          </p15:clr>
        </p15:guide>
        <p15:guide id="4" pos="98">
          <p15:clr>
            <a:srgbClr val="00000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C974E7-A1D3-41A5-B97E-54F405541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1D8BF6-4A3A-451A-9E9B-03D5BB4DC7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76208" y="2578999"/>
            <a:ext cx="5853024" cy="97926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248065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6732532"/>
              </p:ext>
            </p:ext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38D18C3-132D-4EA9-A013-8C02F2367BA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64" b="1" i="0" baseline="0" err="1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 rot="5400000">
            <a:off x="5274348" y="-59653"/>
            <a:ext cx="6644930" cy="7190377"/>
            <a:chOff x="4591537" y="0"/>
            <a:chExt cx="7600463" cy="5403547"/>
          </a:xfrm>
        </p:grpSpPr>
        <p:sp>
          <p:nvSpPr>
            <p:cNvPr id="32" name="Freeform 31"/>
            <p:cNvSpPr>
              <a:spLocks/>
            </p:cNvSpPr>
            <p:nvPr userDrawn="1"/>
          </p:nvSpPr>
          <p:spPr bwMode="ltGray">
            <a:xfrm>
              <a:off x="9672169" y="0"/>
              <a:ext cx="2519830" cy="5403547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5403547 h 5403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19830" h="5403547">
                  <a:moveTo>
                    <a:pt x="0" y="0"/>
                  </a:moveTo>
                  <a:lnTo>
                    <a:pt x="2519830" y="0"/>
                  </a:lnTo>
                  <a:lnTo>
                    <a:pt x="2519830" y="5403547"/>
                  </a:lnTo>
                  <a:close/>
                </a:path>
              </a:pathLst>
            </a:custGeom>
            <a:solidFill>
              <a:srgbClr val="AAD3A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E7F2E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ltGray">
            <a:xfrm>
              <a:off x="6445332" y="0"/>
              <a:ext cx="5507232" cy="4841081"/>
            </a:xfrm>
            <a:custGeom>
              <a:avLst/>
              <a:gdLst>
                <a:gd name="connsiteX0" fmla="*/ 0 w 5507233"/>
                <a:gd name="connsiteY0" fmla="*/ 0 h 4841081"/>
                <a:gd name="connsiteX1" fmla="*/ 610810 w 5507233"/>
                <a:gd name="connsiteY1" fmla="*/ 0 h 4841081"/>
                <a:gd name="connsiteX2" fmla="*/ 3981656 w 5507233"/>
                <a:gd name="connsiteY2" fmla="*/ 1569869 h 4841081"/>
                <a:gd name="connsiteX3" fmla="*/ 4665678 w 5507233"/>
                <a:gd name="connsiteY3" fmla="*/ 3036941 h 4841081"/>
                <a:gd name="connsiteX4" fmla="*/ 5507233 w 5507233"/>
                <a:gd name="connsiteY4" fmla="*/ 4841081 h 4841081"/>
                <a:gd name="connsiteX5" fmla="*/ 1349206 w 5507233"/>
                <a:gd name="connsiteY5" fmla="*/ 2911232 h 4841081"/>
                <a:gd name="connsiteX6" fmla="*/ 510415 w 5507233"/>
                <a:gd name="connsiteY6" fmla="*/ 1101566 h 4841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07233" h="4841081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4665678" y="3036941"/>
                  </a:lnTo>
                  <a:lnTo>
                    <a:pt x="5507233" y="4841081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C1DEC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ltGray">
            <a:xfrm>
              <a:off x="7057080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8AC5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CEE5C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</p:grp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611442" y="6340334"/>
            <a:ext cx="3795784" cy="110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16" b="1" baseline="0">
                <a:solidFill>
                  <a:schemeClr val="accent6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611441" y="6493758"/>
            <a:ext cx="4038929" cy="110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16" baseline="0">
                <a:solidFill>
                  <a:schemeClr val="accent6"/>
                </a:solidFill>
                <a:latin typeface="+mn-lt"/>
              </a:rPr>
              <a:t>Last Modified 9/1/2021 9:10 AM Arab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611442" y="6647183"/>
            <a:ext cx="3795784" cy="110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716" baseline="0">
                <a:solidFill>
                  <a:schemeClr val="accent6"/>
                </a:solidFill>
                <a:latin typeface="+mn-lt"/>
              </a:rPr>
              <a:t>Printed 29/12/2019 07:18 Arab Standard Time</a:t>
            </a:r>
            <a:endParaRPr lang="en-US" sz="716" baseline="0">
              <a:solidFill>
                <a:schemeClr val="accent6"/>
              </a:solidFill>
              <a:latin typeface="+mn-lt"/>
            </a:endParaRPr>
          </a:p>
        </p:txBody>
      </p:sp>
      <p:cxnSp>
        <p:nvCxnSpPr>
          <p:cNvPr id="37" name="Straight Connector 36"/>
          <p:cNvCxnSpPr/>
          <p:nvPr userDrawn="1"/>
        </p:nvCxnSpPr>
        <p:spPr bwMode="auto">
          <a:xfrm>
            <a:off x="611442" y="6252508"/>
            <a:ext cx="5171091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  <p:sp>
        <p:nvSpPr>
          <p:cNvPr id="17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726814"/>
            <a:endParaRPr lang="en-US" sz="650" baseline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611442" y="2993759"/>
            <a:ext cx="4523581" cy="8740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54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auto">
          <a:xfrm>
            <a:off x="611441" y="5619262"/>
            <a:ext cx="6027484" cy="19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273" baseline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2289B8C-0888-4980-A80E-8295A6B9F249}"/>
              </a:ext>
            </a:extLst>
          </p:cNvPr>
          <p:cNvCxnSpPr/>
          <p:nvPr userDrawn="1"/>
        </p:nvCxnSpPr>
        <p:spPr bwMode="ltGray">
          <a:xfrm flipV="1">
            <a:off x="469537" y="934069"/>
            <a:ext cx="10966610" cy="26908"/>
          </a:xfrm>
          <a:prstGeom prst="line">
            <a:avLst/>
          </a:prstGeom>
          <a:noFill/>
          <a:ln w="6350" cap="flat" cmpd="sng" algn="ctr">
            <a:solidFill>
              <a:srgbClr val="A5A5A5"/>
            </a:solidFill>
            <a:prstDash val="solid"/>
            <a:miter lim="800000"/>
          </a:ln>
          <a:effectLst/>
        </p:spPr>
      </p:cxnSp>
      <p:sp>
        <p:nvSpPr>
          <p:cNvPr id="19" name="Title Placeholder 2">
            <a:extLst>
              <a:ext uri="{FF2B5EF4-FFF2-40B4-BE49-F238E27FC236}">
                <a16:creationId xmlns:a16="http://schemas.microsoft.com/office/drawing/2014/main" id="{D66E2747-7733-4D64-B4ED-6606B428EA6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65414" y="300917"/>
            <a:ext cx="10966610" cy="5706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7767847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2171854"/>
              </p:ext>
            </p:ext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38D18C3-132D-4EA9-A013-8C02F2367BA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64" b="1" i="0" baseline="0" err="1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591537" y="1"/>
            <a:ext cx="7600463" cy="5403547"/>
            <a:chOff x="4591537" y="0"/>
            <a:chExt cx="7600463" cy="5403547"/>
          </a:xfrm>
        </p:grpSpPr>
        <p:sp>
          <p:nvSpPr>
            <p:cNvPr id="32" name="Freeform 31"/>
            <p:cNvSpPr>
              <a:spLocks/>
            </p:cNvSpPr>
            <p:nvPr userDrawn="1"/>
          </p:nvSpPr>
          <p:spPr bwMode="ltGray">
            <a:xfrm>
              <a:off x="9672169" y="0"/>
              <a:ext cx="2519830" cy="5403547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5403547 h 5403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19830" h="5403547">
                  <a:moveTo>
                    <a:pt x="0" y="0"/>
                  </a:moveTo>
                  <a:lnTo>
                    <a:pt x="2519830" y="0"/>
                  </a:lnTo>
                  <a:lnTo>
                    <a:pt x="2519830" y="5403547"/>
                  </a:lnTo>
                  <a:close/>
                </a:path>
              </a:pathLst>
            </a:custGeom>
            <a:solidFill>
              <a:srgbClr val="AAD3A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E7F2E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ltGray">
            <a:xfrm>
              <a:off x="6445332" y="0"/>
              <a:ext cx="5507233" cy="4841081"/>
            </a:xfrm>
            <a:custGeom>
              <a:avLst/>
              <a:gdLst>
                <a:gd name="connsiteX0" fmla="*/ 0 w 5507233"/>
                <a:gd name="connsiteY0" fmla="*/ 0 h 4841081"/>
                <a:gd name="connsiteX1" fmla="*/ 610810 w 5507233"/>
                <a:gd name="connsiteY1" fmla="*/ 0 h 4841081"/>
                <a:gd name="connsiteX2" fmla="*/ 3981656 w 5507233"/>
                <a:gd name="connsiteY2" fmla="*/ 1569869 h 4841081"/>
                <a:gd name="connsiteX3" fmla="*/ 4665678 w 5507233"/>
                <a:gd name="connsiteY3" fmla="*/ 3036941 h 4841081"/>
                <a:gd name="connsiteX4" fmla="*/ 5507233 w 5507233"/>
                <a:gd name="connsiteY4" fmla="*/ 4841081 h 4841081"/>
                <a:gd name="connsiteX5" fmla="*/ 1349206 w 5507233"/>
                <a:gd name="connsiteY5" fmla="*/ 2911232 h 4841081"/>
                <a:gd name="connsiteX6" fmla="*/ 510415 w 5507233"/>
                <a:gd name="connsiteY6" fmla="*/ 1101566 h 4841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07233" h="4841081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4665678" y="3036941"/>
                  </a:lnTo>
                  <a:lnTo>
                    <a:pt x="5507233" y="4841081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C1DEC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ltGray">
            <a:xfrm>
              <a:off x="7057081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8AC5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CEE5C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</p:grp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611442" y="6340334"/>
            <a:ext cx="3795784" cy="110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16" b="1" baseline="0">
                <a:solidFill>
                  <a:schemeClr val="accent6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611441" y="6493758"/>
            <a:ext cx="4038929" cy="110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16" baseline="0">
                <a:solidFill>
                  <a:schemeClr val="accent6"/>
                </a:solidFill>
                <a:latin typeface="+mn-lt"/>
              </a:rPr>
              <a:t>Last Modified 9/1/2021 9:10 AM Arab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611442" y="6647183"/>
            <a:ext cx="3795784" cy="110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716" baseline="0">
                <a:solidFill>
                  <a:schemeClr val="accent6"/>
                </a:solidFill>
                <a:latin typeface="+mn-lt"/>
              </a:rPr>
              <a:t>Printed 29/12/2019 07:18 Arab Standard Time</a:t>
            </a:r>
            <a:endParaRPr lang="en-US" sz="716" baseline="0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ltGray">
          <a:xfrm>
            <a:off x="611443" y="542925"/>
            <a:ext cx="2688569" cy="841321"/>
          </a:xfrm>
          <a:prstGeom prst="rect">
            <a:avLst/>
          </a:prstGeom>
        </p:spPr>
      </p:pic>
      <p:cxnSp>
        <p:nvCxnSpPr>
          <p:cNvPr id="37" name="Straight Connector 36"/>
          <p:cNvCxnSpPr/>
          <p:nvPr userDrawn="1"/>
        </p:nvCxnSpPr>
        <p:spPr bwMode="auto">
          <a:xfrm>
            <a:off x="611442" y="6252508"/>
            <a:ext cx="5171091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  <p:sp>
        <p:nvSpPr>
          <p:cNvPr id="17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726814"/>
            <a:endParaRPr lang="en-US" sz="650" baseline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611441" y="2384444"/>
            <a:ext cx="6027484" cy="440744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2864" b="1" baseline="0">
                <a:solidFill>
                  <a:schemeClr val="accent3">
                    <a:lumMod val="75000"/>
                  </a:schemeClr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611442" y="4099796"/>
            <a:ext cx="6027484" cy="3371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591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auto">
          <a:xfrm>
            <a:off x="611441" y="5619262"/>
            <a:ext cx="6027484" cy="19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273" baseline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356392983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996502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726814"/>
            <a:endParaRPr lang="en-US" sz="650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9445505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90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1927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E3100D14-C052-4024-9A78-A97D42DA4F4C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EE8D274-5DB4-4546-BC58-171503D534AA}"/>
              </a:ext>
            </a:extLst>
          </p:cNvPr>
          <p:cNvPicPr>
            <a:picLocks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4564947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138319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726814"/>
            <a:endParaRPr lang="en-US" sz="650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95915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412">
          <p15:clr>
            <a:srgbClr val="000000"/>
          </p15:clr>
        </p15:guide>
        <p15:guide id="2" orient="horz" pos="582">
          <p15:clr>
            <a:srgbClr val="000000"/>
          </p15:clr>
        </p15:guide>
        <p15:guide id="3" orient="horz" pos="3991">
          <p15:clr>
            <a:srgbClr val="000000"/>
          </p15:clr>
        </p15:guide>
        <p15:guide id="4" pos="98">
          <p15:clr>
            <a:srgbClr val="00000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C974E7-A1D3-41A5-B97E-54F405541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1D8BF6-4A3A-451A-9E9B-03D5BB4DC7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76208" y="2578999"/>
            <a:ext cx="5853024" cy="97926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447373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2113718"/>
              </p:ext>
            </p:ext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38D18C3-132D-4EA9-A013-8C02F2367BA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64" b="1" i="0" baseline="0" err="1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 rot="5400000">
            <a:off x="5274348" y="-59653"/>
            <a:ext cx="6644930" cy="7190377"/>
            <a:chOff x="4591537" y="0"/>
            <a:chExt cx="7600463" cy="5403547"/>
          </a:xfrm>
        </p:grpSpPr>
        <p:sp>
          <p:nvSpPr>
            <p:cNvPr id="32" name="Freeform 31"/>
            <p:cNvSpPr>
              <a:spLocks/>
            </p:cNvSpPr>
            <p:nvPr userDrawn="1"/>
          </p:nvSpPr>
          <p:spPr bwMode="ltGray">
            <a:xfrm>
              <a:off x="9672169" y="0"/>
              <a:ext cx="2519830" cy="5403547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5403547 h 5403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19830" h="5403547">
                  <a:moveTo>
                    <a:pt x="0" y="0"/>
                  </a:moveTo>
                  <a:lnTo>
                    <a:pt x="2519830" y="0"/>
                  </a:lnTo>
                  <a:lnTo>
                    <a:pt x="2519830" y="5403547"/>
                  </a:lnTo>
                  <a:close/>
                </a:path>
              </a:pathLst>
            </a:custGeom>
            <a:solidFill>
              <a:srgbClr val="AAD3A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E7F2E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ltGray">
            <a:xfrm>
              <a:off x="6445332" y="0"/>
              <a:ext cx="5507232" cy="4841081"/>
            </a:xfrm>
            <a:custGeom>
              <a:avLst/>
              <a:gdLst>
                <a:gd name="connsiteX0" fmla="*/ 0 w 5507233"/>
                <a:gd name="connsiteY0" fmla="*/ 0 h 4841081"/>
                <a:gd name="connsiteX1" fmla="*/ 610810 w 5507233"/>
                <a:gd name="connsiteY1" fmla="*/ 0 h 4841081"/>
                <a:gd name="connsiteX2" fmla="*/ 3981656 w 5507233"/>
                <a:gd name="connsiteY2" fmla="*/ 1569869 h 4841081"/>
                <a:gd name="connsiteX3" fmla="*/ 4665678 w 5507233"/>
                <a:gd name="connsiteY3" fmla="*/ 3036941 h 4841081"/>
                <a:gd name="connsiteX4" fmla="*/ 5507233 w 5507233"/>
                <a:gd name="connsiteY4" fmla="*/ 4841081 h 4841081"/>
                <a:gd name="connsiteX5" fmla="*/ 1349206 w 5507233"/>
                <a:gd name="connsiteY5" fmla="*/ 2911232 h 4841081"/>
                <a:gd name="connsiteX6" fmla="*/ 510415 w 5507233"/>
                <a:gd name="connsiteY6" fmla="*/ 1101566 h 4841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07233" h="4841081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4665678" y="3036941"/>
                  </a:lnTo>
                  <a:lnTo>
                    <a:pt x="5507233" y="4841081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C1DEC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ltGray">
            <a:xfrm>
              <a:off x="7057080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8AC5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CEE5C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</p:grp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611442" y="6340334"/>
            <a:ext cx="3795784" cy="110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16" b="1" baseline="0">
                <a:solidFill>
                  <a:schemeClr val="accent6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611441" y="6493758"/>
            <a:ext cx="4038929" cy="110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16" baseline="0">
                <a:solidFill>
                  <a:schemeClr val="accent6"/>
                </a:solidFill>
                <a:latin typeface="+mn-lt"/>
              </a:rPr>
              <a:t>Last Modified 9/1/2021 9:10 AM Arab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611442" y="6647183"/>
            <a:ext cx="3795784" cy="110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716" baseline="0">
                <a:solidFill>
                  <a:schemeClr val="accent6"/>
                </a:solidFill>
                <a:latin typeface="+mn-lt"/>
              </a:rPr>
              <a:t>Printed 29/12/2019 07:18 Arab Standard Time</a:t>
            </a:r>
            <a:endParaRPr lang="en-US" sz="716" baseline="0">
              <a:solidFill>
                <a:schemeClr val="accent6"/>
              </a:solidFill>
              <a:latin typeface="+mn-lt"/>
            </a:endParaRPr>
          </a:p>
        </p:txBody>
      </p:sp>
      <p:cxnSp>
        <p:nvCxnSpPr>
          <p:cNvPr id="37" name="Straight Connector 36"/>
          <p:cNvCxnSpPr/>
          <p:nvPr userDrawn="1"/>
        </p:nvCxnSpPr>
        <p:spPr bwMode="auto">
          <a:xfrm>
            <a:off x="611442" y="6252508"/>
            <a:ext cx="5171091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  <p:sp>
        <p:nvSpPr>
          <p:cNvPr id="17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726814"/>
            <a:endParaRPr lang="en-US" sz="650" baseline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611442" y="2993759"/>
            <a:ext cx="4523581" cy="8740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54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auto">
          <a:xfrm>
            <a:off x="611441" y="5619262"/>
            <a:ext cx="6027484" cy="19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273" baseline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2289B8C-0888-4980-A80E-8295A6B9F249}"/>
              </a:ext>
            </a:extLst>
          </p:cNvPr>
          <p:cNvCxnSpPr/>
          <p:nvPr userDrawn="1"/>
        </p:nvCxnSpPr>
        <p:spPr bwMode="ltGray">
          <a:xfrm flipV="1">
            <a:off x="469537" y="934069"/>
            <a:ext cx="10966610" cy="26908"/>
          </a:xfrm>
          <a:prstGeom prst="line">
            <a:avLst/>
          </a:prstGeom>
          <a:noFill/>
          <a:ln w="6350" cap="flat" cmpd="sng" algn="ctr">
            <a:solidFill>
              <a:srgbClr val="A5A5A5"/>
            </a:solidFill>
            <a:prstDash val="solid"/>
            <a:miter lim="800000"/>
          </a:ln>
          <a:effectLst/>
        </p:spPr>
      </p:cxnSp>
      <p:sp>
        <p:nvSpPr>
          <p:cNvPr id="19" name="Title Placeholder 2">
            <a:extLst>
              <a:ext uri="{FF2B5EF4-FFF2-40B4-BE49-F238E27FC236}">
                <a16:creationId xmlns:a16="http://schemas.microsoft.com/office/drawing/2014/main" id="{D66E2747-7733-4D64-B4ED-6606B428EA6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65414" y="300917"/>
            <a:ext cx="10966610" cy="5706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8627326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1910" b="1"/>
            </a:lvl1pPr>
            <a:lvl2pPr marL="363755" indent="0">
              <a:buNone/>
              <a:defRPr sz="1591" b="1"/>
            </a:lvl2pPr>
            <a:lvl3pPr marL="727510" indent="0">
              <a:buNone/>
              <a:defRPr sz="1432" b="1"/>
            </a:lvl3pPr>
            <a:lvl4pPr marL="1091265" indent="0">
              <a:buNone/>
              <a:defRPr sz="1273" b="1"/>
            </a:lvl4pPr>
            <a:lvl5pPr marL="1455020" indent="0">
              <a:buNone/>
              <a:defRPr sz="1273" b="1"/>
            </a:lvl5pPr>
            <a:lvl6pPr marL="1818775" indent="0">
              <a:buNone/>
              <a:defRPr sz="1273" b="1"/>
            </a:lvl6pPr>
            <a:lvl7pPr marL="2182529" indent="0">
              <a:buNone/>
              <a:defRPr sz="1273" b="1"/>
            </a:lvl7pPr>
            <a:lvl8pPr marL="2546285" indent="0">
              <a:buNone/>
              <a:defRPr sz="1273" b="1"/>
            </a:lvl8pPr>
            <a:lvl9pPr marL="2910039" indent="0">
              <a:buNone/>
              <a:defRPr sz="127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1910" b="1"/>
            </a:lvl1pPr>
            <a:lvl2pPr marL="363755" indent="0">
              <a:buNone/>
              <a:defRPr sz="1591" b="1"/>
            </a:lvl2pPr>
            <a:lvl3pPr marL="727510" indent="0">
              <a:buNone/>
              <a:defRPr sz="1432" b="1"/>
            </a:lvl3pPr>
            <a:lvl4pPr marL="1091265" indent="0">
              <a:buNone/>
              <a:defRPr sz="1273" b="1"/>
            </a:lvl4pPr>
            <a:lvl5pPr marL="1455020" indent="0">
              <a:buNone/>
              <a:defRPr sz="1273" b="1"/>
            </a:lvl5pPr>
            <a:lvl6pPr marL="1818775" indent="0">
              <a:buNone/>
              <a:defRPr sz="1273" b="1"/>
            </a:lvl6pPr>
            <a:lvl7pPr marL="2182529" indent="0">
              <a:buNone/>
              <a:defRPr sz="1273" b="1"/>
            </a:lvl7pPr>
            <a:lvl8pPr marL="2546285" indent="0">
              <a:buNone/>
              <a:defRPr sz="1273" b="1"/>
            </a:lvl8pPr>
            <a:lvl9pPr marL="2910039" indent="0">
              <a:buNone/>
              <a:defRPr sz="127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F3061AA9-A6A3-4CE1-A856-DD4F656C96FC">
            <a:extLst>
              <a:ext uri="{FF2B5EF4-FFF2-40B4-BE49-F238E27FC236}">
                <a16:creationId xmlns:a16="http://schemas.microsoft.com/office/drawing/2014/main" id="{8CCA7D17-01A1-4ABF-99C8-7197445977E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7192" y="5862406"/>
            <a:ext cx="1631183" cy="995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8399540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2725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1" name="Group 20">
            <a:extLst>
              <a:ext uri="{FF2B5EF4-FFF2-40B4-BE49-F238E27FC236}">
                <a16:creationId xmlns:a16="http://schemas.microsoft.com/office/drawing/2014/main" id="{ABE20079-317D-4FF6-9684-AA9B0F2E05B7}"/>
              </a:ext>
            </a:extLst>
          </p:cNvPr>
          <p:cNvGrpSpPr/>
          <p:nvPr userDrawn="1"/>
        </p:nvGrpSpPr>
        <p:grpSpPr bwMode="ltGray">
          <a:xfrm>
            <a:off x="-15898" y="-12038"/>
            <a:ext cx="12207898" cy="6870038"/>
            <a:chOff x="-15898" y="-12038"/>
            <a:chExt cx="12207898" cy="6870038"/>
          </a:xfrm>
        </p:grpSpPr>
        <p:pic>
          <p:nvPicPr>
            <p:cNvPr id="22" name="Picture 65" descr="About">
              <a:extLst>
                <a:ext uri="{FF2B5EF4-FFF2-40B4-BE49-F238E27FC236}">
                  <a16:creationId xmlns:a16="http://schemas.microsoft.com/office/drawing/2014/main" id="{957E44BD-EE8D-4695-ABA2-0753259E916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886" r="5521"/>
            <a:stretch/>
          </p:blipFill>
          <p:spPr bwMode="ltGray">
            <a:xfrm>
              <a:off x="-15898" y="0"/>
              <a:ext cx="12207898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516671B-FB20-4F1D-BBC2-8B2B6B9CFB5B}"/>
                </a:ext>
              </a:extLst>
            </p:cNvPr>
            <p:cNvSpPr/>
            <p:nvPr/>
          </p:nvSpPr>
          <p:spPr bwMode="ltGray">
            <a:xfrm>
              <a:off x="-15898" y="0"/>
              <a:ext cx="12207898" cy="6858000"/>
            </a:xfrm>
            <a:prstGeom prst="rect">
              <a:avLst/>
            </a:prstGeom>
            <a:gradFill flip="none" rotWithShape="1">
              <a:gsLst>
                <a:gs pos="18000">
                  <a:srgbClr val="3F6B39">
                    <a:alpha val="86000"/>
                  </a:srgbClr>
                </a:gs>
                <a:gs pos="100000">
                  <a:srgbClr val="3F6B39">
                    <a:alpha val="35000"/>
                  </a:srgbClr>
                </a:gs>
              </a:gsLst>
              <a:lin ang="0" scaled="1"/>
              <a:tileRect/>
            </a:gradFill>
            <a:ln w="9525" cap="flat" cmpd="sng" algn="ctr">
              <a:solidFill>
                <a:srgbClr val="3F6B39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Group 1">
              <a:extLst>
                <a:ext uri="{FF2B5EF4-FFF2-40B4-BE49-F238E27FC236}">
                  <a16:creationId xmlns:a16="http://schemas.microsoft.com/office/drawing/2014/main" id="{BEA29757-EEB9-441E-8E05-A7FC79B582B0}"/>
                </a:ext>
              </a:extLst>
            </p:cNvPr>
            <p:cNvSpPr>
              <a:spLocks/>
            </p:cNvSpPr>
            <p:nvPr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FFFFFF">
                <a:alpha val="36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Freeform 34">
              <a:extLst>
                <a:ext uri="{FF2B5EF4-FFF2-40B4-BE49-F238E27FC236}">
                  <a16:creationId xmlns:a16="http://schemas.microsoft.com/office/drawing/2014/main" id="{AED4654A-20C8-4FAF-86B1-666B50010C77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7057081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" name="Freeform 35">
              <a:extLst>
                <a:ext uri="{FF2B5EF4-FFF2-40B4-BE49-F238E27FC236}">
                  <a16:creationId xmlns:a16="http://schemas.microsoft.com/office/drawing/2014/main" id="{4E5FF1D3-8BF9-472B-BD24-2F2AFB803D13}"/>
                </a:ext>
              </a:extLst>
            </p:cNvPr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" name="doc id">
              <a:extLst>
                <a:ext uri="{FF2B5EF4-FFF2-40B4-BE49-F238E27FC236}">
                  <a16:creationId xmlns:a16="http://schemas.microsoft.com/office/drawing/2014/main" id="{D32DC00C-C6B9-4638-A668-8F4F2A907D3B}"/>
                </a:ext>
              </a:extLst>
            </p:cNvPr>
            <p:cNvSpPr>
              <a:spLocks noChangeArrowheads="1"/>
            </p:cNvSpPr>
            <p:nvPr/>
          </p:nvSpPr>
          <p:spPr bwMode="ltGray">
            <a:xfrm>
              <a:off x="11064591" y="51833"/>
              <a:ext cx="894152" cy="1247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marL="0" marR="0" lvl="0" indent="0" algn="r" defTabSz="9135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16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F80159D0-6749-4DB5-9263-0C2BD85849B0}"/>
                </a:ext>
              </a:extLst>
            </p:cNvPr>
            <p:cNvSpPr>
              <a:spLocks/>
            </p:cNvSpPr>
            <p:nvPr/>
          </p:nvSpPr>
          <p:spPr bwMode="ltGray">
            <a:xfrm>
              <a:off x="10427596" y="1569403"/>
              <a:ext cx="1764404" cy="3834145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1 h 5403547"/>
                <a:gd name="connsiteX3" fmla="*/ 23964 w 2519830"/>
                <a:gd name="connsiteY3" fmla="*/ 1 h 5403547"/>
                <a:gd name="connsiteX4" fmla="*/ 755426 w 2519830"/>
                <a:gd name="connsiteY4" fmla="*/ 1569402 h 5403547"/>
                <a:gd name="connsiteX5" fmla="*/ 2519830 w 2519830"/>
                <a:gd name="connsiteY5" fmla="*/ 2390793 h 5403547"/>
                <a:gd name="connsiteX6" fmla="*/ 2519830 w 2519830"/>
                <a:gd name="connsiteY6" fmla="*/ 5403547 h 5403547"/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3964 w 2519830"/>
                <a:gd name="connsiteY2" fmla="*/ 1 h 5403547"/>
                <a:gd name="connsiteX3" fmla="*/ 755426 w 2519830"/>
                <a:gd name="connsiteY3" fmla="*/ 1569402 h 5403547"/>
                <a:gd name="connsiteX4" fmla="*/ 2519830 w 2519830"/>
                <a:gd name="connsiteY4" fmla="*/ 2390793 h 5403547"/>
                <a:gd name="connsiteX5" fmla="*/ 2519830 w 2519830"/>
                <a:gd name="connsiteY5" fmla="*/ 5403547 h 5403547"/>
                <a:gd name="connsiteX6" fmla="*/ 0 w 2519830"/>
                <a:gd name="connsiteY6" fmla="*/ 0 h 5403547"/>
                <a:gd name="connsiteX0" fmla="*/ 0 w 2519830"/>
                <a:gd name="connsiteY0" fmla="*/ 0 h 5403547"/>
                <a:gd name="connsiteX1" fmla="*/ 23964 w 2519830"/>
                <a:gd name="connsiteY1" fmla="*/ 1 h 5403547"/>
                <a:gd name="connsiteX2" fmla="*/ 755426 w 2519830"/>
                <a:gd name="connsiteY2" fmla="*/ 1569402 h 5403547"/>
                <a:gd name="connsiteX3" fmla="*/ 2519830 w 2519830"/>
                <a:gd name="connsiteY3" fmla="*/ 2390793 h 5403547"/>
                <a:gd name="connsiteX4" fmla="*/ 2519830 w 2519830"/>
                <a:gd name="connsiteY4" fmla="*/ 5403547 h 5403547"/>
                <a:gd name="connsiteX5" fmla="*/ 0 w 2519830"/>
                <a:gd name="connsiteY5" fmla="*/ 0 h 5403547"/>
                <a:gd name="connsiteX0" fmla="*/ 2495866 w 2495866"/>
                <a:gd name="connsiteY0" fmla="*/ 5403546 h 5403546"/>
                <a:gd name="connsiteX1" fmla="*/ 0 w 2495866"/>
                <a:gd name="connsiteY1" fmla="*/ 0 h 5403546"/>
                <a:gd name="connsiteX2" fmla="*/ 731462 w 2495866"/>
                <a:gd name="connsiteY2" fmla="*/ 1569401 h 5403546"/>
                <a:gd name="connsiteX3" fmla="*/ 2495866 w 2495866"/>
                <a:gd name="connsiteY3" fmla="*/ 2390792 h 5403546"/>
                <a:gd name="connsiteX4" fmla="*/ 2495866 w 2495866"/>
                <a:gd name="connsiteY4" fmla="*/ 5403546 h 5403546"/>
                <a:gd name="connsiteX0" fmla="*/ 1764404 w 1764404"/>
                <a:gd name="connsiteY0" fmla="*/ 3834145 h 3834145"/>
                <a:gd name="connsiteX1" fmla="*/ 0 w 1764404"/>
                <a:gd name="connsiteY1" fmla="*/ 0 h 3834145"/>
                <a:gd name="connsiteX2" fmla="*/ 1764404 w 1764404"/>
                <a:gd name="connsiteY2" fmla="*/ 821391 h 3834145"/>
                <a:gd name="connsiteX3" fmla="*/ 1764404 w 1764404"/>
                <a:gd name="connsiteY3" fmla="*/ 3834145 h 3834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64404" h="3834145">
                  <a:moveTo>
                    <a:pt x="1764404" y="3834145"/>
                  </a:moveTo>
                  <a:lnTo>
                    <a:pt x="0" y="0"/>
                  </a:lnTo>
                  <a:lnTo>
                    <a:pt x="1764404" y="821391"/>
                  </a:lnTo>
                  <a:lnTo>
                    <a:pt x="1764404" y="3834145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9" name="Picture 12">
              <a:extLst>
                <a:ext uri="{FF2B5EF4-FFF2-40B4-BE49-F238E27FC236}">
                  <a16:creationId xmlns:a16="http://schemas.microsoft.com/office/drawing/2014/main" id="{59BA4928-D1F4-4469-8793-2852B2E49AE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 bwMode="ltGray">
            <a:xfrm>
              <a:off x="611441" y="542924"/>
              <a:ext cx="2688569" cy="841321"/>
            </a:xfrm>
            <a:prstGeom prst="rect">
              <a:avLst/>
            </a:prstGeom>
          </p:spPr>
        </p:pic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4F280B4-D75B-46AB-A268-90910F535ED6}"/>
                </a:ext>
              </a:extLst>
            </p:cNvPr>
            <p:cNvSpPr>
              <a:spLocks/>
            </p:cNvSpPr>
            <p:nvPr/>
          </p:nvSpPr>
          <p:spPr bwMode="ltGray">
            <a:xfrm>
              <a:off x="6443063" y="-12038"/>
              <a:ext cx="5474706" cy="4825984"/>
            </a:xfrm>
            <a:custGeom>
              <a:avLst/>
              <a:gdLst>
                <a:gd name="connsiteX0" fmla="*/ 0 w 5474706"/>
                <a:gd name="connsiteY0" fmla="*/ 0 h 4825984"/>
                <a:gd name="connsiteX1" fmla="*/ 610810 w 5474706"/>
                <a:gd name="connsiteY1" fmla="*/ 0 h 4825984"/>
                <a:gd name="connsiteX2" fmla="*/ 3981656 w 5474706"/>
                <a:gd name="connsiteY2" fmla="*/ 1569869 h 4825984"/>
                <a:gd name="connsiteX3" fmla="*/ 3982923 w 5474706"/>
                <a:gd name="connsiteY3" fmla="*/ 1572586 h 4825984"/>
                <a:gd name="connsiteX4" fmla="*/ 3976086 w 5474706"/>
                <a:gd name="connsiteY4" fmla="*/ 1569403 h 4825984"/>
                <a:gd name="connsiteX5" fmla="*/ 5474706 w 5474706"/>
                <a:gd name="connsiteY5" fmla="*/ 4825984 h 4825984"/>
                <a:gd name="connsiteX6" fmla="*/ 1349206 w 5474706"/>
                <a:gd name="connsiteY6" fmla="*/ 2911232 h 4825984"/>
                <a:gd name="connsiteX7" fmla="*/ 510415 w 5474706"/>
                <a:gd name="connsiteY7" fmla="*/ 1101566 h 4825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474706" h="4825984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3982923" y="1572586"/>
                  </a:lnTo>
                  <a:lnTo>
                    <a:pt x="3976086" y="1569403"/>
                  </a:lnTo>
                  <a:lnTo>
                    <a:pt x="5474706" y="4825984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6192267"/>
            <a:ext cx="683583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5774658"/>
            <a:ext cx="683583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2" y="2210324"/>
            <a:ext cx="6835830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4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4230660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28981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b="0" baseline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1762235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4443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436BD0A4-69D3-402B-A9A9-C50227B15FE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143172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9320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30A6A7F9-7F25-47B4-9EFD-7399510D5D3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520801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25710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3B0E45EA-7BE5-442F-9560-4747E835161F}"/>
              </a:ext>
            </a:extLst>
          </p:cNvPr>
          <p:cNvSpPr/>
          <p:nvPr userDrawn="1"/>
        </p:nvSpPr>
        <p:spPr bwMode="ltGray">
          <a:xfrm>
            <a:off x="0" y="5819792"/>
            <a:ext cx="12191999" cy="1038208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1FE66A3-9B4F-48DD-973A-A48B59160229}"/>
              </a:ext>
            </a:extLst>
          </p:cNvPr>
          <p:cNvGrpSpPr/>
          <p:nvPr userDrawn="1"/>
        </p:nvGrpSpPr>
        <p:grpSpPr bwMode="ltGray">
          <a:xfrm>
            <a:off x="4591537" y="0"/>
            <a:ext cx="7600463" cy="5403547"/>
            <a:chOff x="4591537" y="0"/>
            <a:chExt cx="7600463" cy="5403547"/>
          </a:xfrm>
        </p:grpSpPr>
        <p:sp>
          <p:nvSpPr>
            <p:cNvPr id="20" name="Freeform 31">
              <a:extLst>
                <a:ext uri="{FF2B5EF4-FFF2-40B4-BE49-F238E27FC236}">
                  <a16:creationId xmlns:a16="http://schemas.microsoft.com/office/drawing/2014/main" id="{90667E4D-EBC4-4CC1-9855-F12F3B69DC10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672169" y="0"/>
              <a:ext cx="2519830" cy="5403547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5403547 h 5403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19830" h="5403547">
                  <a:moveTo>
                    <a:pt x="0" y="0"/>
                  </a:moveTo>
                  <a:lnTo>
                    <a:pt x="2519830" y="0"/>
                  </a:lnTo>
                  <a:lnTo>
                    <a:pt x="2519830" y="5403547"/>
                  </a:lnTo>
                  <a:close/>
                </a:path>
              </a:pathLst>
            </a:custGeom>
            <a:solidFill>
              <a:srgbClr val="AAD3A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/>
            </a:p>
          </p:txBody>
        </p:sp>
        <p:sp>
          <p:nvSpPr>
            <p:cNvPr id="21" name="Freeform 32">
              <a:extLst>
                <a:ext uri="{FF2B5EF4-FFF2-40B4-BE49-F238E27FC236}">
                  <a16:creationId xmlns:a16="http://schemas.microsoft.com/office/drawing/2014/main" id="{909150F0-9D58-4AFD-98FE-1555B44A5F76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E7F2E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/>
            </a:p>
          </p:txBody>
        </p:sp>
        <p:sp>
          <p:nvSpPr>
            <p:cNvPr id="22" name="Freeform 33">
              <a:extLst>
                <a:ext uri="{FF2B5EF4-FFF2-40B4-BE49-F238E27FC236}">
                  <a16:creationId xmlns:a16="http://schemas.microsoft.com/office/drawing/2014/main" id="{00B217CA-FF7A-4694-A075-3719822C89B1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6445332" y="0"/>
              <a:ext cx="5507233" cy="4841081"/>
            </a:xfrm>
            <a:custGeom>
              <a:avLst/>
              <a:gdLst>
                <a:gd name="connsiteX0" fmla="*/ 0 w 5507233"/>
                <a:gd name="connsiteY0" fmla="*/ 0 h 4841081"/>
                <a:gd name="connsiteX1" fmla="*/ 610810 w 5507233"/>
                <a:gd name="connsiteY1" fmla="*/ 0 h 4841081"/>
                <a:gd name="connsiteX2" fmla="*/ 3981656 w 5507233"/>
                <a:gd name="connsiteY2" fmla="*/ 1569869 h 4841081"/>
                <a:gd name="connsiteX3" fmla="*/ 4665678 w 5507233"/>
                <a:gd name="connsiteY3" fmla="*/ 3036941 h 4841081"/>
                <a:gd name="connsiteX4" fmla="*/ 5507233 w 5507233"/>
                <a:gd name="connsiteY4" fmla="*/ 4841081 h 4841081"/>
                <a:gd name="connsiteX5" fmla="*/ 1349206 w 5507233"/>
                <a:gd name="connsiteY5" fmla="*/ 2911232 h 4841081"/>
                <a:gd name="connsiteX6" fmla="*/ 510415 w 5507233"/>
                <a:gd name="connsiteY6" fmla="*/ 1101566 h 4841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07233" h="4841081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4665678" y="3036941"/>
                  </a:lnTo>
                  <a:lnTo>
                    <a:pt x="5507233" y="4841081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C1DEC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/>
            </a:p>
          </p:txBody>
        </p:sp>
        <p:sp>
          <p:nvSpPr>
            <p:cNvPr id="23" name="Freeform 34">
              <a:extLst>
                <a:ext uri="{FF2B5EF4-FFF2-40B4-BE49-F238E27FC236}">
                  <a16:creationId xmlns:a16="http://schemas.microsoft.com/office/drawing/2014/main" id="{6E869E1F-0114-4B5B-BC21-BF57D030D68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7057081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8AC5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/>
            </a:p>
          </p:txBody>
        </p:sp>
        <p:sp>
          <p:nvSpPr>
            <p:cNvPr id="24" name="Freeform 35">
              <a:extLst>
                <a:ext uri="{FF2B5EF4-FFF2-40B4-BE49-F238E27FC236}">
                  <a16:creationId xmlns:a16="http://schemas.microsoft.com/office/drawing/2014/main" id="{17B1DBF2-4A23-4E11-BF69-602D78790FDD}"/>
                </a:ext>
              </a:extLst>
            </p:cNvPr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CEE5C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/>
            </a:p>
          </p:txBody>
        </p:sp>
      </p:grpSp>
      <p:pic>
        <p:nvPicPr>
          <p:cNvPr id="25" name="Picture 24">
            <a:extLst>
              <a:ext uri="{FF2B5EF4-FFF2-40B4-BE49-F238E27FC236}">
                <a16:creationId xmlns:a16="http://schemas.microsoft.com/office/drawing/2014/main" id="{21E4B8CD-8C13-4621-8127-1565EDA88619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 bwMode="ltGray">
          <a:xfrm>
            <a:off x="611441" y="542924"/>
            <a:ext cx="2688569" cy="841321"/>
          </a:xfrm>
          <a:prstGeom prst="rect">
            <a:avLst/>
          </a:prstGeom>
        </p:spPr>
      </p:pic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112F0FC-3EBB-4F50-B895-1F89E7AEBAF7}"/>
              </a:ext>
            </a:extLst>
          </p:cNvPr>
          <p:cNvCxnSpPr/>
          <p:nvPr userDrawn="1"/>
        </p:nvCxnSpPr>
        <p:spPr bwMode="ltGray">
          <a:xfrm>
            <a:off x="611441" y="6252508"/>
            <a:ext cx="5171091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2561414"/>
            <a:ext cx="6760464" cy="1354217"/>
          </a:xfrm>
        </p:spPr>
        <p:txBody>
          <a:bodyPr vert="horz" anchor="b" anchorCtr="0">
            <a:no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29" name="Subtitle">
            <a:extLst>
              <a:ext uri="{FF2B5EF4-FFF2-40B4-BE49-F238E27FC236}">
                <a16:creationId xmlns:a16="http://schemas.microsoft.com/office/drawing/2014/main" id="{3BB216A9-7249-4DED-83E2-F9EA93C16100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1941" y="4024099"/>
            <a:ext cx="6760464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 lang="en-US" sz="20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5320573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94357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FC6334AE-8D78-4A76-A627-5E9B347EF0CE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41786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3466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5065776" cy="384721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05FD5F32-9469-4E0F-8535-8FE3B7C177A6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384504E-EA4A-4DD1-83C0-AC293FB7F9A2}"/>
              </a:ext>
            </a:extLst>
          </p:cNvPr>
          <p:cNvPicPr>
            <a:picLocks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3765952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6308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C56963FF-ADBA-477A-8328-4F16B44471E4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7889876-BA05-49A2-8294-D779E2868DC3}"/>
              </a:ext>
            </a:extLst>
          </p:cNvPr>
          <p:cNvPicPr>
            <a:picLocks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2643104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8080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E3100D14-C052-4024-9A78-A97D42DA4F4C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EE8D274-5DB4-4546-BC58-171503D534AA}"/>
              </a:ext>
            </a:extLst>
          </p:cNvPr>
          <p:cNvPicPr>
            <a:picLocks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7469089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6211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5065776" cy="384721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05FD5F32-9469-4E0F-8535-8FE3B7C177A6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384504E-EA4A-4DD1-83C0-AC293FB7F9A2}"/>
              </a:ext>
            </a:extLst>
          </p:cNvPr>
          <p:cNvPicPr>
            <a:picLocks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0655622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4913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384721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0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77661"/>
            <a:ext cx="6967729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4169A25B-A5F4-4C97-8540-ED9CC98F969D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6CD6A66-48C6-4BD2-B9B9-41E1EE0976B5}"/>
              </a:ext>
            </a:extLst>
          </p:cNvPr>
          <p:cNvPicPr>
            <a:picLocks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9139732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4267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7918704" cy="384721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0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u="none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 noProof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43CC0EF8-D168-4C66-AFFD-37DF3A91198C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05B57B7-BC67-458E-B7B0-A0429154B7BF}"/>
              </a:ext>
            </a:extLst>
          </p:cNvPr>
          <p:cNvPicPr>
            <a:picLocks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456113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4016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989512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856B0F7-D900-4CD7-9173-6BCAEC340F0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03A2897-8F59-42BD-B6DD-251E725B958D}"/>
              </a:ext>
            </a:extLst>
          </p:cNvPr>
          <p:cNvPicPr>
            <a:picLocks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357F0324-A612-4AAB-9DC4-C7A748AF3DB1}"/>
              </a:ext>
            </a:extLst>
          </p:cNvPr>
          <p:cNvGrpSpPr/>
          <p:nvPr userDrawn="1"/>
        </p:nvGrpSpPr>
        <p:grpSpPr>
          <a:xfrm>
            <a:off x="554736" y="6368464"/>
            <a:ext cx="11082528" cy="54693"/>
            <a:chOff x="554736" y="6349068"/>
            <a:chExt cx="11082528" cy="54693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198DE8D2-0E24-4923-8389-7500828D14BF}"/>
                </a:ext>
              </a:extLst>
            </p:cNvPr>
            <p:cNvCxnSpPr/>
            <p:nvPr userDrawn="1"/>
          </p:nvCxnSpPr>
          <p:spPr bwMode="ltGray">
            <a:xfrm flipV="1">
              <a:off x="554741" y="6349072"/>
              <a:ext cx="11082523" cy="17939"/>
            </a:xfrm>
            <a:prstGeom prst="line">
              <a:avLst/>
            </a:prstGeom>
            <a:noFill/>
            <a:ln w="6350" cap="flat" cmpd="sng" algn="ctr">
              <a:solidFill>
                <a:srgbClr val="A5A5A5"/>
              </a:solidFill>
              <a:prstDash val="solid"/>
              <a:miter lim="800000"/>
            </a:ln>
            <a:effectLst/>
          </p:spPr>
        </p:cxn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273C7CF2-784C-4329-9D05-25ECFF334BBF}"/>
                </a:ext>
              </a:extLst>
            </p:cNvPr>
            <p:cNvSpPr/>
            <p:nvPr userDrawn="1"/>
          </p:nvSpPr>
          <p:spPr bwMode="ltGray">
            <a:xfrm>
              <a:off x="554736" y="6358042"/>
              <a:ext cx="2797733" cy="45719"/>
            </a:xfrm>
            <a:prstGeom prst="rect">
              <a:avLst/>
            </a:prstGeom>
            <a:solidFill>
              <a:srgbClr val="000000">
                <a:lumMod val="65000"/>
                <a:lumOff val="3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5909122C-351C-4F9A-98FA-AB182939F686}"/>
                </a:ext>
              </a:extLst>
            </p:cNvPr>
            <p:cNvSpPr/>
            <p:nvPr userDrawn="1"/>
          </p:nvSpPr>
          <p:spPr bwMode="ltGray">
            <a:xfrm>
              <a:off x="10671243" y="6349068"/>
              <a:ext cx="966017" cy="54688"/>
            </a:xfrm>
            <a:prstGeom prst="rect">
              <a:avLst/>
            </a:prstGeom>
            <a:solidFill>
              <a:srgbClr val="000000">
                <a:lumMod val="65000"/>
                <a:lumOff val="3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7914760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5604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B185D4E6-1D08-404B-9627-E173C227EB7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674580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3344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87C41EC-7993-4253-98D7-CA91944B2598}"/>
              </a:ext>
            </a:extLst>
          </p:cNvPr>
          <p:cNvPicPr>
            <a:picLocks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2598057" y="3103027"/>
            <a:ext cx="6995886" cy="651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70342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tags" Target="../tags/tag8.xml"/><Relationship Id="rId39" Type="http://schemas.openxmlformats.org/officeDocument/2006/relationships/oleObject" Target="../embeddings/oleObject1.bin"/><Relationship Id="rId21" Type="http://schemas.openxmlformats.org/officeDocument/2006/relationships/tags" Target="../tags/tag3.xml"/><Relationship Id="rId34" Type="http://schemas.openxmlformats.org/officeDocument/2006/relationships/tags" Target="../tags/tag16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29" Type="http://schemas.openxmlformats.org/officeDocument/2006/relationships/tags" Target="../tags/tag11.xml"/><Relationship Id="rId41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6.xml"/><Relationship Id="rId32" Type="http://schemas.openxmlformats.org/officeDocument/2006/relationships/tags" Target="../tags/tag14.xml"/><Relationship Id="rId37" Type="http://schemas.openxmlformats.org/officeDocument/2006/relationships/tags" Target="../tags/tag19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28" Type="http://schemas.openxmlformats.org/officeDocument/2006/relationships/tags" Target="../tags/tag10.xml"/><Relationship Id="rId36" Type="http://schemas.openxmlformats.org/officeDocument/2006/relationships/tags" Target="../tags/tag18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31" Type="http://schemas.openxmlformats.org/officeDocument/2006/relationships/tags" Target="../tags/tag1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Relationship Id="rId27" Type="http://schemas.openxmlformats.org/officeDocument/2006/relationships/tags" Target="../tags/tag9.xml"/><Relationship Id="rId30" Type="http://schemas.openxmlformats.org/officeDocument/2006/relationships/tags" Target="../tags/tag12.xml"/><Relationship Id="rId35" Type="http://schemas.openxmlformats.org/officeDocument/2006/relationships/tags" Target="../tags/tag17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7.xml"/><Relationship Id="rId33" Type="http://schemas.openxmlformats.org/officeDocument/2006/relationships/tags" Target="../tags/tag15.xml"/><Relationship Id="rId38" Type="http://schemas.openxmlformats.org/officeDocument/2006/relationships/tags" Target="../tags/tag20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0.xml"/><Relationship Id="rId18" Type="http://schemas.openxmlformats.org/officeDocument/2006/relationships/slideLayout" Target="../slideLayouts/slideLayout35.xml"/><Relationship Id="rId26" Type="http://schemas.openxmlformats.org/officeDocument/2006/relationships/tags" Target="../tags/tag130.xml"/><Relationship Id="rId39" Type="http://schemas.openxmlformats.org/officeDocument/2006/relationships/tags" Target="../tags/tag143.xml"/><Relationship Id="rId21" Type="http://schemas.openxmlformats.org/officeDocument/2006/relationships/slideLayout" Target="../slideLayouts/slideLayout38.xml"/><Relationship Id="rId34" Type="http://schemas.openxmlformats.org/officeDocument/2006/relationships/tags" Target="../tags/tag138.xml"/><Relationship Id="rId42" Type="http://schemas.openxmlformats.org/officeDocument/2006/relationships/tags" Target="../tags/tag146.xml"/><Relationship Id="rId47" Type="http://schemas.openxmlformats.org/officeDocument/2006/relationships/image" Target="../media/image2.emf"/><Relationship Id="rId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9" Type="http://schemas.openxmlformats.org/officeDocument/2006/relationships/tags" Target="../tags/tag133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24" Type="http://schemas.openxmlformats.org/officeDocument/2006/relationships/tags" Target="../tags/tag128.xml"/><Relationship Id="rId32" Type="http://schemas.openxmlformats.org/officeDocument/2006/relationships/tags" Target="../tags/tag136.xml"/><Relationship Id="rId37" Type="http://schemas.openxmlformats.org/officeDocument/2006/relationships/tags" Target="../tags/tag141.xml"/><Relationship Id="rId40" Type="http://schemas.openxmlformats.org/officeDocument/2006/relationships/tags" Target="../tags/tag144.xml"/><Relationship Id="rId45" Type="http://schemas.openxmlformats.org/officeDocument/2006/relationships/oleObject" Target="../embeddings/oleObject18.bin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23" Type="http://schemas.openxmlformats.org/officeDocument/2006/relationships/theme" Target="../theme/theme2.xml"/><Relationship Id="rId28" Type="http://schemas.openxmlformats.org/officeDocument/2006/relationships/tags" Target="../tags/tag132.xml"/><Relationship Id="rId36" Type="http://schemas.openxmlformats.org/officeDocument/2006/relationships/tags" Target="../tags/tag140.xml"/><Relationship Id="rId10" Type="http://schemas.openxmlformats.org/officeDocument/2006/relationships/slideLayout" Target="../slideLayouts/slideLayout27.xml"/><Relationship Id="rId19" Type="http://schemas.openxmlformats.org/officeDocument/2006/relationships/slideLayout" Target="../slideLayouts/slideLayout36.xml"/><Relationship Id="rId31" Type="http://schemas.openxmlformats.org/officeDocument/2006/relationships/tags" Target="../tags/tag135.xml"/><Relationship Id="rId44" Type="http://schemas.openxmlformats.org/officeDocument/2006/relationships/tags" Target="../tags/tag148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slideLayout" Target="../slideLayouts/slideLayout39.xml"/><Relationship Id="rId27" Type="http://schemas.openxmlformats.org/officeDocument/2006/relationships/tags" Target="../tags/tag131.xml"/><Relationship Id="rId30" Type="http://schemas.openxmlformats.org/officeDocument/2006/relationships/tags" Target="../tags/tag134.xml"/><Relationship Id="rId35" Type="http://schemas.openxmlformats.org/officeDocument/2006/relationships/tags" Target="../tags/tag139.xml"/><Relationship Id="rId43" Type="http://schemas.openxmlformats.org/officeDocument/2006/relationships/tags" Target="../tags/tag147.xml"/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5" Type="http://schemas.openxmlformats.org/officeDocument/2006/relationships/tags" Target="../tags/tag129.xml"/><Relationship Id="rId33" Type="http://schemas.openxmlformats.org/officeDocument/2006/relationships/tags" Target="../tags/tag137.xml"/><Relationship Id="rId38" Type="http://schemas.openxmlformats.org/officeDocument/2006/relationships/tags" Target="../tags/tag142.xml"/><Relationship Id="rId46" Type="http://schemas.openxmlformats.org/officeDocument/2006/relationships/image" Target="../media/image3.emf"/><Relationship Id="rId20" Type="http://schemas.openxmlformats.org/officeDocument/2006/relationships/slideLayout" Target="../slideLayouts/slideLayout37.xml"/><Relationship Id="rId41" Type="http://schemas.openxmlformats.org/officeDocument/2006/relationships/tags" Target="../tags/tag145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2.xml"/><Relationship Id="rId18" Type="http://schemas.openxmlformats.org/officeDocument/2006/relationships/tags" Target="../tags/tag275.xml"/><Relationship Id="rId26" Type="http://schemas.openxmlformats.org/officeDocument/2006/relationships/tags" Target="../tags/tag283.xml"/><Relationship Id="rId3" Type="http://schemas.openxmlformats.org/officeDocument/2006/relationships/slideLayout" Target="../slideLayouts/slideLayout42.xml"/><Relationship Id="rId21" Type="http://schemas.openxmlformats.org/officeDocument/2006/relationships/tags" Target="../tags/tag278.xml"/><Relationship Id="rId34" Type="http://schemas.openxmlformats.org/officeDocument/2006/relationships/image" Target="../media/image9.emf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tags" Target="../tags/tag274.xml"/><Relationship Id="rId25" Type="http://schemas.openxmlformats.org/officeDocument/2006/relationships/tags" Target="../tags/tag282.xml"/><Relationship Id="rId33" Type="http://schemas.openxmlformats.org/officeDocument/2006/relationships/oleObject" Target="../embeddings/oleObject37.bin"/><Relationship Id="rId2" Type="http://schemas.openxmlformats.org/officeDocument/2006/relationships/slideLayout" Target="../slideLayouts/slideLayout41.xml"/><Relationship Id="rId16" Type="http://schemas.openxmlformats.org/officeDocument/2006/relationships/tags" Target="../tags/tag273.xml"/><Relationship Id="rId20" Type="http://schemas.openxmlformats.org/officeDocument/2006/relationships/tags" Target="../tags/tag277.xml"/><Relationship Id="rId29" Type="http://schemas.openxmlformats.org/officeDocument/2006/relationships/tags" Target="../tags/tag286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24" Type="http://schemas.openxmlformats.org/officeDocument/2006/relationships/tags" Target="../tags/tag281.xml"/><Relationship Id="rId32" Type="http://schemas.openxmlformats.org/officeDocument/2006/relationships/tags" Target="../tags/tag289.xml"/><Relationship Id="rId5" Type="http://schemas.openxmlformats.org/officeDocument/2006/relationships/slideLayout" Target="../slideLayouts/slideLayout44.xml"/><Relationship Id="rId15" Type="http://schemas.openxmlformats.org/officeDocument/2006/relationships/theme" Target="../theme/theme3.xml"/><Relationship Id="rId23" Type="http://schemas.openxmlformats.org/officeDocument/2006/relationships/tags" Target="../tags/tag280.xml"/><Relationship Id="rId28" Type="http://schemas.openxmlformats.org/officeDocument/2006/relationships/tags" Target="../tags/tag285.xml"/><Relationship Id="rId10" Type="http://schemas.openxmlformats.org/officeDocument/2006/relationships/slideLayout" Target="../slideLayouts/slideLayout49.xml"/><Relationship Id="rId19" Type="http://schemas.openxmlformats.org/officeDocument/2006/relationships/tags" Target="../tags/tag276.xml"/><Relationship Id="rId31" Type="http://schemas.openxmlformats.org/officeDocument/2006/relationships/tags" Target="../tags/tag288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Relationship Id="rId22" Type="http://schemas.openxmlformats.org/officeDocument/2006/relationships/tags" Target="../tags/tag279.xml"/><Relationship Id="rId27" Type="http://schemas.openxmlformats.org/officeDocument/2006/relationships/tags" Target="../tags/tag284.xml"/><Relationship Id="rId30" Type="http://schemas.openxmlformats.org/officeDocument/2006/relationships/tags" Target="../tags/tag287.xml"/><Relationship Id="rId35" Type="http://schemas.openxmlformats.org/officeDocument/2006/relationships/image" Target="../media/image2.emf"/><Relationship Id="rId8" Type="http://schemas.openxmlformats.org/officeDocument/2006/relationships/slideLayout" Target="../slideLayouts/slideLayout4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tags" Target="../tags/tag327.xml"/><Relationship Id="rId18" Type="http://schemas.openxmlformats.org/officeDocument/2006/relationships/tags" Target="../tags/tag332.xml"/><Relationship Id="rId26" Type="http://schemas.openxmlformats.org/officeDocument/2006/relationships/tags" Target="../tags/tag340.xml"/><Relationship Id="rId3" Type="http://schemas.openxmlformats.org/officeDocument/2006/relationships/slideLayout" Target="../slideLayouts/slideLayout56.xml"/><Relationship Id="rId21" Type="http://schemas.openxmlformats.org/officeDocument/2006/relationships/tags" Target="../tags/tag335.xml"/><Relationship Id="rId7" Type="http://schemas.openxmlformats.org/officeDocument/2006/relationships/slideLayout" Target="../slideLayouts/slideLayout60.xml"/><Relationship Id="rId12" Type="http://schemas.openxmlformats.org/officeDocument/2006/relationships/tags" Target="../tags/tag326.xml"/><Relationship Id="rId17" Type="http://schemas.openxmlformats.org/officeDocument/2006/relationships/tags" Target="../tags/tag331.xml"/><Relationship Id="rId25" Type="http://schemas.openxmlformats.org/officeDocument/2006/relationships/tags" Target="../tags/tag339.xml"/><Relationship Id="rId2" Type="http://schemas.openxmlformats.org/officeDocument/2006/relationships/slideLayout" Target="../slideLayouts/slideLayout55.xml"/><Relationship Id="rId16" Type="http://schemas.openxmlformats.org/officeDocument/2006/relationships/tags" Target="../tags/tag330.xml"/><Relationship Id="rId20" Type="http://schemas.openxmlformats.org/officeDocument/2006/relationships/tags" Target="../tags/tag334.xml"/><Relationship Id="rId29" Type="http://schemas.openxmlformats.org/officeDocument/2006/relationships/image" Target="../media/image2.emf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tags" Target="../tags/tag325.xml"/><Relationship Id="rId24" Type="http://schemas.openxmlformats.org/officeDocument/2006/relationships/tags" Target="../tags/tag338.xml"/><Relationship Id="rId5" Type="http://schemas.openxmlformats.org/officeDocument/2006/relationships/slideLayout" Target="../slideLayouts/slideLayout58.xml"/><Relationship Id="rId15" Type="http://schemas.openxmlformats.org/officeDocument/2006/relationships/tags" Target="../tags/tag329.xml"/><Relationship Id="rId23" Type="http://schemas.openxmlformats.org/officeDocument/2006/relationships/tags" Target="../tags/tag337.xml"/><Relationship Id="rId28" Type="http://schemas.openxmlformats.org/officeDocument/2006/relationships/image" Target="../media/image9.emf"/><Relationship Id="rId10" Type="http://schemas.openxmlformats.org/officeDocument/2006/relationships/tags" Target="../tags/tag324.xml"/><Relationship Id="rId19" Type="http://schemas.openxmlformats.org/officeDocument/2006/relationships/tags" Target="../tags/tag333.xml"/><Relationship Id="rId4" Type="http://schemas.openxmlformats.org/officeDocument/2006/relationships/slideLayout" Target="../slideLayouts/slideLayout57.xml"/><Relationship Id="rId9" Type="http://schemas.openxmlformats.org/officeDocument/2006/relationships/theme" Target="../theme/theme4.xml"/><Relationship Id="rId14" Type="http://schemas.openxmlformats.org/officeDocument/2006/relationships/tags" Target="../tags/tag328.xml"/><Relationship Id="rId22" Type="http://schemas.openxmlformats.org/officeDocument/2006/relationships/tags" Target="../tags/tag336.xml"/><Relationship Id="rId27" Type="http://schemas.openxmlformats.org/officeDocument/2006/relationships/oleObject" Target="../embeddings/oleObject46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359.xml"/><Relationship Id="rId13" Type="http://schemas.openxmlformats.org/officeDocument/2006/relationships/tags" Target="../tags/tag364.xml"/><Relationship Id="rId18" Type="http://schemas.openxmlformats.org/officeDocument/2006/relationships/tags" Target="../tags/tag369.xml"/><Relationship Id="rId3" Type="http://schemas.openxmlformats.org/officeDocument/2006/relationships/slideLayout" Target="../slideLayouts/slideLayout64.xml"/><Relationship Id="rId21" Type="http://schemas.openxmlformats.org/officeDocument/2006/relationships/tags" Target="../tags/tag372.xml"/><Relationship Id="rId7" Type="http://schemas.openxmlformats.org/officeDocument/2006/relationships/tags" Target="../tags/tag358.xml"/><Relationship Id="rId12" Type="http://schemas.openxmlformats.org/officeDocument/2006/relationships/tags" Target="../tags/tag363.xml"/><Relationship Id="rId17" Type="http://schemas.openxmlformats.org/officeDocument/2006/relationships/tags" Target="../tags/tag368.xml"/><Relationship Id="rId25" Type="http://schemas.openxmlformats.org/officeDocument/2006/relationships/image" Target="../media/image2.emf"/><Relationship Id="rId2" Type="http://schemas.openxmlformats.org/officeDocument/2006/relationships/slideLayout" Target="../slideLayouts/slideLayout63.xml"/><Relationship Id="rId16" Type="http://schemas.openxmlformats.org/officeDocument/2006/relationships/tags" Target="../tags/tag367.xml"/><Relationship Id="rId20" Type="http://schemas.openxmlformats.org/officeDocument/2006/relationships/tags" Target="../tags/tag371.xml"/><Relationship Id="rId1" Type="http://schemas.openxmlformats.org/officeDocument/2006/relationships/slideLayout" Target="../slideLayouts/slideLayout62.xml"/><Relationship Id="rId6" Type="http://schemas.openxmlformats.org/officeDocument/2006/relationships/tags" Target="../tags/tag357.xml"/><Relationship Id="rId11" Type="http://schemas.openxmlformats.org/officeDocument/2006/relationships/tags" Target="../tags/tag362.xml"/><Relationship Id="rId24" Type="http://schemas.openxmlformats.org/officeDocument/2006/relationships/image" Target="../media/image9.emf"/><Relationship Id="rId5" Type="http://schemas.openxmlformats.org/officeDocument/2006/relationships/theme" Target="../theme/theme5.xml"/><Relationship Id="rId15" Type="http://schemas.openxmlformats.org/officeDocument/2006/relationships/tags" Target="../tags/tag366.xml"/><Relationship Id="rId23" Type="http://schemas.openxmlformats.org/officeDocument/2006/relationships/oleObject" Target="../embeddings/oleObject50.bin"/><Relationship Id="rId10" Type="http://schemas.openxmlformats.org/officeDocument/2006/relationships/tags" Target="../tags/tag361.xml"/><Relationship Id="rId19" Type="http://schemas.openxmlformats.org/officeDocument/2006/relationships/tags" Target="../tags/tag370.xml"/><Relationship Id="rId4" Type="http://schemas.openxmlformats.org/officeDocument/2006/relationships/slideLayout" Target="../slideLayouts/slideLayout65.xml"/><Relationship Id="rId9" Type="http://schemas.openxmlformats.org/officeDocument/2006/relationships/tags" Target="../tags/tag360.xml"/><Relationship Id="rId14" Type="http://schemas.openxmlformats.org/officeDocument/2006/relationships/tags" Target="../tags/tag365.xml"/><Relationship Id="rId22" Type="http://schemas.openxmlformats.org/officeDocument/2006/relationships/tags" Target="../tags/tag37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image" Target="../media/image14.emf"/><Relationship Id="rId5" Type="http://schemas.openxmlformats.org/officeDocument/2006/relationships/slideLayout" Target="../slideLayouts/slideLayout70.xml"/><Relationship Id="rId10" Type="http://schemas.openxmlformats.org/officeDocument/2006/relationships/oleObject" Target="../embeddings/oleObject54.bin"/><Relationship Id="rId4" Type="http://schemas.openxmlformats.org/officeDocument/2006/relationships/slideLayout" Target="../slideLayouts/slideLayout69.xml"/><Relationship Id="rId9" Type="http://schemas.openxmlformats.org/officeDocument/2006/relationships/tags" Target="../tags/tag37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393.xml"/><Relationship Id="rId13" Type="http://schemas.openxmlformats.org/officeDocument/2006/relationships/tags" Target="../tags/tag398.xml"/><Relationship Id="rId18" Type="http://schemas.openxmlformats.org/officeDocument/2006/relationships/tags" Target="../tags/tag403.xml"/><Relationship Id="rId26" Type="http://schemas.openxmlformats.org/officeDocument/2006/relationships/image" Target="../media/image2.emf"/><Relationship Id="rId3" Type="http://schemas.openxmlformats.org/officeDocument/2006/relationships/slideLayout" Target="../slideLayouts/slideLayout75.xml"/><Relationship Id="rId21" Type="http://schemas.openxmlformats.org/officeDocument/2006/relationships/tags" Target="../tags/tag406.xml"/><Relationship Id="rId7" Type="http://schemas.openxmlformats.org/officeDocument/2006/relationships/tags" Target="../tags/tag392.xml"/><Relationship Id="rId12" Type="http://schemas.openxmlformats.org/officeDocument/2006/relationships/tags" Target="../tags/tag397.xml"/><Relationship Id="rId17" Type="http://schemas.openxmlformats.org/officeDocument/2006/relationships/tags" Target="../tags/tag402.xml"/><Relationship Id="rId25" Type="http://schemas.openxmlformats.org/officeDocument/2006/relationships/image" Target="../media/image9.emf"/><Relationship Id="rId2" Type="http://schemas.openxmlformats.org/officeDocument/2006/relationships/slideLayout" Target="../slideLayouts/slideLayout74.xml"/><Relationship Id="rId16" Type="http://schemas.openxmlformats.org/officeDocument/2006/relationships/tags" Target="../tags/tag401.xml"/><Relationship Id="rId20" Type="http://schemas.openxmlformats.org/officeDocument/2006/relationships/tags" Target="../tags/tag405.xml"/><Relationship Id="rId1" Type="http://schemas.openxmlformats.org/officeDocument/2006/relationships/slideLayout" Target="../slideLayouts/slideLayout73.xml"/><Relationship Id="rId6" Type="http://schemas.openxmlformats.org/officeDocument/2006/relationships/theme" Target="../theme/theme7.xml"/><Relationship Id="rId11" Type="http://schemas.openxmlformats.org/officeDocument/2006/relationships/tags" Target="../tags/tag396.xml"/><Relationship Id="rId24" Type="http://schemas.openxmlformats.org/officeDocument/2006/relationships/oleObject" Target="../embeddings/oleObject56.bin"/><Relationship Id="rId5" Type="http://schemas.openxmlformats.org/officeDocument/2006/relationships/slideLayout" Target="../slideLayouts/slideLayout77.xml"/><Relationship Id="rId15" Type="http://schemas.openxmlformats.org/officeDocument/2006/relationships/tags" Target="../tags/tag400.xml"/><Relationship Id="rId23" Type="http://schemas.openxmlformats.org/officeDocument/2006/relationships/tags" Target="../tags/tag408.xml"/><Relationship Id="rId10" Type="http://schemas.openxmlformats.org/officeDocument/2006/relationships/tags" Target="../tags/tag395.xml"/><Relationship Id="rId19" Type="http://schemas.openxmlformats.org/officeDocument/2006/relationships/tags" Target="../tags/tag404.xml"/><Relationship Id="rId4" Type="http://schemas.openxmlformats.org/officeDocument/2006/relationships/slideLayout" Target="../slideLayouts/slideLayout76.xml"/><Relationship Id="rId9" Type="http://schemas.openxmlformats.org/officeDocument/2006/relationships/tags" Target="../tags/tag394.xml"/><Relationship Id="rId14" Type="http://schemas.openxmlformats.org/officeDocument/2006/relationships/tags" Target="../tags/tag399.xml"/><Relationship Id="rId22" Type="http://schemas.openxmlformats.org/officeDocument/2006/relationships/tags" Target="../tags/tag40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415.xml"/><Relationship Id="rId13" Type="http://schemas.openxmlformats.org/officeDocument/2006/relationships/tags" Target="../tags/tag420.xml"/><Relationship Id="rId18" Type="http://schemas.openxmlformats.org/officeDocument/2006/relationships/tags" Target="../tags/tag425.xml"/><Relationship Id="rId26" Type="http://schemas.openxmlformats.org/officeDocument/2006/relationships/image" Target="../media/image9.emf"/><Relationship Id="rId3" Type="http://schemas.openxmlformats.org/officeDocument/2006/relationships/slideLayout" Target="../slideLayouts/slideLayout80.xml"/><Relationship Id="rId21" Type="http://schemas.openxmlformats.org/officeDocument/2006/relationships/tags" Target="../tags/tag428.xml"/><Relationship Id="rId7" Type="http://schemas.openxmlformats.org/officeDocument/2006/relationships/theme" Target="../theme/theme8.xml"/><Relationship Id="rId12" Type="http://schemas.openxmlformats.org/officeDocument/2006/relationships/tags" Target="../tags/tag419.xml"/><Relationship Id="rId17" Type="http://schemas.openxmlformats.org/officeDocument/2006/relationships/tags" Target="../tags/tag424.xml"/><Relationship Id="rId25" Type="http://schemas.openxmlformats.org/officeDocument/2006/relationships/oleObject" Target="../embeddings/oleObject61.bin"/><Relationship Id="rId2" Type="http://schemas.openxmlformats.org/officeDocument/2006/relationships/slideLayout" Target="../slideLayouts/slideLayout79.xml"/><Relationship Id="rId16" Type="http://schemas.openxmlformats.org/officeDocument/2006/relationships/tags" Target="../tags/tag423.xml"/><Relationship Id="rId20" Type="http://schemas.openxmlformats.org/officeDocument/2006/relationships/tags" Target="../tags/tag427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tags" Target="../tags/tag418.xml"/><Relationship Id="rId24" Type="http://schemas.openxmlformats.org/officeDocument/2006/relationships/tags" Target="../tags/tag431.xml"/><Relationship Id="rId5" Type="http://schemas.openxmlformats.org/officeDocument/2006/relationships/slideLayout" Target="../slideLayouts/slideLayout82.xml"/><Relationship Id="rId15" Type="http://schemas.openxmlformats.org/officeDocument/2006/relationships/tags" Target="../tags/tag422.xml"/><Relationship Id="rId23" Type="http://schemas.openxmlformats.org/officeDocument/2006/relationships/tags" Target="../tags/tag430.xml"/><Relationship Id="rId10" Type="http://schemas.openxmlformats.org/officeDocument/2006/relationships/tags" Target="../tags/tag417.xml"/><Relationship Id="rId19" Type="http://schemas.openxmlformats.org/officeDocument/2006/relationships/tags" Target="../tags/tag426.xml"/><Relationship Id="rId4" Type="http://schemas.openxmlformats.org/officeDocument/2006/relationships/slideLayout" Target="../slideLayouts/slideLayout81.xml"/><Relationship Id="rId9" Type="http://schemas.openxmlformats.org/officeDocument/2006/relationships/tags" Target="../tags/tag416.xml"/><Relationship Id="rId14" Type="http://schemas.openxmlformats.org/officeDocument/2006/relationships/tags" Target="../tags/tag421.xml"/><Relationship Id="rId22" Type="http://schemas.openxmlformats.org/officeDocument/2006/relationships/tags" Target="../tags/tag429.xml"/><Relationship Id="rId27" Type="http://schemas.openxmlformats.org/officeDocument/2006/relationships/image" Target="../media/image2.emf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6.xml"/><Relationship Id="rId18" Type="http://schemas.openxmlformats.org/officeDocument/2006/relationships/tags" Target="../tags/tag440.xml"/><Relationship Id="rId26" Type="http://schemas.openxmlformats.org/officeDocument/2006/relationships/tags" Target="../tags/tag448.xml"/><Relationship Id="rId21" Type="http://schemas.openxmlformats.org/officeDocument/2006/relationships/tags" Target="../tags/tag443.xml"/><Relationship Id="rId34" Type="http://schemas.openxmlformats.org/officeDocument/2006/relationships/tags" Target="../tags/tag456.xml"/><Relationship Id="rId7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5.xml"/><Relationship Id="rId17" Type="http://schemas.openxmlformats.org/officeDocument/2006/relationships/tags" Target="../tags/tag439.xml"/><Relationship Id="rId25" Type="http://schemas.openxmlformats.org/officeDocument/2006/relationships/tags" Target="../tags/tag447.xml"/><Relationship Id="rId33" Type="http://schemas.openxmlformats.org/officeDocument/2006/relationships/tags" Target="../tags/tag455.xml"/><Relationship Id="rId38" Type="http://schemas.openxmlformats.org/officeDocument/2006/relationships/image" Target="../media/image2.emf"/><Relationship Id="rId2" Type="http://schemas.openxmlformats.org/officeDocument/2006/relationships/slideLayout" Target="../slideLayouts/slideLayout85.xml"/><Relationship Id="rId16" Type="http://schemas.openxmlformats.org/officeDocument/2006/relationships/tags" Target="../tags/tag438.xml"/><Relationship Id="rId20" Type="http://schemas.openxmlformats.org/officeDocument/2006/relationships/tags" Target="../tags/tag442.xml"/><Relationship Id="rId29" Type="http://schemas.openxmlformats.org/officeDocument/2006/relationships/tags" Target="../tags/tag451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24" Type="http://schemas.openxmlformats.org/officeDocument/2006/relationships/tags" Target="../tags/tag446.xml"/><Relationship Id="rId32" Type="http://schemas.openxmlformats.org/officeDocument/2006/relationships/tags" Target="../tags/tag454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88.xml"/><Relationship Id="rId15" Type="http://schemas.openxmlformats.org/officeDocument/2006/relationships/theme" Target="../theme/theme9.xml"/><Relationship Id="rId23" Type="http://schemas.openxmlformats.org/officeDocument/2006/relationships/tags" Target="../tags/tag445.xml"/><Relationship Id="rId28" Type="http://schemas.openxmlformats.org/officeDocument/2006/relationships/tags" Target="../tags/tag450.xml"/><Relationship Id="rId36" Type="http://schemas.openxmlformats.org/officeDocument/2006/relationships/oleObject" Target="../embeddings/oleObject66.bin"/><Relationship Id="rId10" Type="http://schemas.openxmlformats.org/officeDocument/2006/relationships/slideLayout" Target="../slideLayouts/slideLayout93.xml"/><Relationship Id="rId19" Type="http://schemas.openxmlformats.org/officeDocument/2006/relationships/tags" Target="../tags/tag441.xml"/><Relationship Id="rId31" Type="http://schemas.openxmlformats.org/officeDocument/2006/relationships/tags" Target="../tags/tag453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slideLayout" Target="../slideLayouts/slideLayout97.xml"/><Relationship Id="rId22" Type="http://schemas.openxmlformats.org/officeDocument/2006/relationships/tags" Target="../tags/tag444.xml"/><Relationship Id="rId27" Type="http://schemas.openxmlformats.org/officeDocument/2006/relationships/tags" Target="../tags/tag449.xml"/><Relationship Id="rId30" Type="http://schemas.openxmlformats.org/officeDocument/2006/relationships/tags" Target="../tags/tag452.xml"/><Relationship Id="rId35" Type="http://schemas.openxmlformats.org/officeDocument/2006/relationships/tags" Target="../tags/tag457.xml"/><Relationship Id="rId8" Type="http://schemas.openxmlformats.org/officeDocument/2006/relationships/slideLayout" Target="../slideLayouts/slideLayout91.xml"/><Relationship Id="rId3" Type="http://schemas.openxmlformats.org/officeDocument/2006/relationships/slideLayout" Target="../slideLayouts/slideLayout8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3203702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9" imgW="413" imgH="416" progId="TCLayout.ActiveDocument.1">
                  <p:embed/>
                </p:oleObj>
              </mc:Choice>
              <mc:Fallback>
                <p:oleObj name="think-cell Slide" r:id="rId3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553972" y="6190849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/>
        </p:nvSpPr>
        <p:spPr>
          <a:xfrm>
            <a:off x="554736" y="1198743"/>
            <a:ext cx="344646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 lvl="0"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>
            <p:custDataLst>
              <p:tags r:id="rId23"/>
            </p:custDataLst>
          </p:nvPr>
        </p:nvSpPr>
        <p:spPr>
          <a:xfrm>
            <a:off x="5987738" y="2170800"/>
            <a:ext cx="3049253" cy="49244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  <a:br>
              <a:rPr lang="en-US"/>
            </a:br>
            <a:r>
              <a:rPr lang="en-US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 flipH="1">
            <a:off x="554736" y="1646241"/>
            <a:ext cx="4762018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54" name="LegendLines" hidden="1">
            <a:extLst>
              <a:ext uri="{FF2B5EF4-FFF2-40B4-BE49-F238E27FC236}">
                <a16:creationId xmlns:a16="http://schemas.microsoft.com/office/drawing/2014/main" id="{E5A3A058-6B69-4312-AF71-61B1CC1967FA}"/>
              </a:ext>
            </a:extLst>
          </p:cNvPr>
          <p:cNvGrpSpPr/>
          <p:nvPr/>
        </p:nvGrpSpPr>
        <p:grpSpPr>
          <a:xfrm>
            <a:off x="10398782" y="3150223"/>
            <a:ext cx="1251160" cy="958286"/>
            <a:chOff x="10162879" y="3243772"/>
            <a:chExt cx="1251160" cy="958286"/>
          </a:xfrm>
        </p:grpSpPr>
        <p:sp>
          <p:nvSpPr>
            <p:cNvPr id="155" name="Legend1" hidden="1">
              <a:extLst>
                <a:ext uri="{FF2B5EF4-FFF2-40B4-BE49-F238E27FC236}">
                  <a16:creationId xmlns:a16="http://schemas.microsoft.com/office/drawing/2014/main" id="{B1483347-D2CB-45E0-9695-BBA35B33DCFC}"/>
                </a:ext>
              </a:extLst>
            </p:cNvPr>
            <p:cNvSpPr txBox="1"/>
            <p:nvPr/>
          </p:nvSpPr>
          <p:spPr>
            <a:xfrm>
              <a:off x="10886522" y="324377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6" name="Legend2" hidden="1">
              <a:extLst>
                <a:ext uri="{FF2B5EF4-FFF2-40B4-BE49-F238E27FC236}">
                  <a16:creationId xmlns:a16="http://schemas.microsoft.com/office/drawing/2014/main" id="{74639385-1E48-4018-A994-9AC18FC989D1}"/>
                </a:ext>
              </a:extLst>
            </p:cNvPr>
            <p:cNvSpPr txBox="1"/>
            <p:nvPr/>
          </p:nvSpPr>
          <p:spPr>
            <a:xfrm>
              <a:off x="10886522" y="3615193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7" name="Legend3" hidden="1">
              <a:extLst>
                <a:ext uri="{FF2B5EF4-FFF2-40B4-BE49-F238E27FC236}">
                  <a16:creationId xmlns:a16="http://schemas.microsoft.com/office/drawing/2014/main" id="{7B527157-F5B7-4231-9280-9C00C99F750A}"/>
                </a:ext>
              </a:extLst>
            </p:cNvPr>
            <p:cNvSpPr txBox="1"/>
            <p:nvPr/>
          </p:nvSpPr>
          <p:spPr>
            <a:xfrm>
              <a:off x="10886522" y="398661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8" name="LineLegend3" hidden="1">
              <a:extLst>
                <a:ext uri="{FF2B5EF4-FFF2-40B4-BE49-F238E27FC236}">
                  <a16:creationId xmlns:a16="http://schemas.microsoft.com/office/drawing/2014/main" id="{CFC4A46B-4B4C-4E18-8C29-56ED1CA8C9F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59" name="LineLegend2" hidden="1">
              <a:extLst>
                <a:ext uri="{FF2B5EF4-FFF2-40B4-BE49-F238E27FC236}">
                  <a16:creationId xmlns:a16="http://schemas.microsoft.com/office/drawing/2014/main" id="{299E6BB7-7600-46F2-A0DA-ADCB38112B6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60" name="LineLegend1" hidden="1">
              <a:extLst>
                <a:ext uri="{FF2B5EF4-FFF2-40B4-BE49-F238E27FC236}">
                  <a16:creationId xmlns:a16="http://schemas.microsoft.com/office/drawing/2014/main" id="{3DAD72C9-4400-4CA3-91AC-3D74AFB20BC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ea typeface="+mn-ea"/>
              </a:endParaRPr>
            </a:p>
          </p:txBody>
        </p:sp>
      </p:grpSp>
      <p:grpSp>
        <p:nvGrpSpPr>
          <p:cNvPr id="161" name="LegendMoons" hidden="1">
            <a:extLst>
              <a:ext uri="{FF2B5EF4-FFF2-40B4-BE49-F238E27FC236}">
                <a16:creationId xmlns:a16="http://schemas.microsoft.com/office/drawing/2014/main" id="{B0D16645-DEE1-4F0A-B841-F0821AA8B01C}"/>
              </a:ext>
            </a:extLst>
          </p:cNvPr>
          <p:cNvGrpSpPr/>
          <p:nvPr/>
        </p:nvGrpSpPr>
        <p:grpSpPr>
          <a:xfrm>
            <a:off x="10769793" y="1145373"/>
            <a:ext cx="880149" cy="1731859"/>
            <a:chOff x="7723680" y="1702457"/>
            <a:chExt cx="880149" cy="1731859"/>
          </a:xfrm>
        </p:grpSpPr>
        <p:sp>
          <p:nvSpPr>
            <p:cNvPr id="162" name="Legend1" hidden="1">
              <a:extLst>
                <a:ext uri="{FF2B5EF4-FFF2-40B4-BE49-F238E27FC236}">
                  <a16:creationId xmlns:a16="http://schemas.microsoft.com/office/drawing/2014/main" id="{D5B6618B-0438-43C0-8BA2-9D42FD270E47}"/>
                </a:ext>
              </a:extLst>
            </p:cNvPr>
            <p:cNvSpPr txBox="1"/>
            <p:nvPr/>
          </p:nvSpPr>
          <p:spPr>
            <a:xfrm>
              <a:off x="8076312" y="1709816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3" name="Legend2" hidden="1">
              <a:extLst>
                <a:ext uri="{FF2B5EF4-FFF2-40B4-BE49-F238E27FC236}">
                  <a16:creationId xmlns:a16="http://schemas.microsoft.com/office/drawing/2014/main" id="{C6D9E259-1A28-4D00-BB3C-19F46D2232FD}"/>
                </a:ext>
              </a:extLst>
            </p:cNvPr>
            <p:cNvSpPr txBox="1"/>
            <p:nvPr/>
          </p:nvSpPr>
          <p:spPr>
            <a:xfrm>
              <a:off x="8076312" y="2085275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4" name="Legend3" hidden="1">
              <a:extLst>
                <a:ext uri="{FF2B5EF4-FFF2-40B4-BE49-F238E27FC236}">
                  <a16:creationId xmlns:a16="http://schemas.microsoft.com/office/drawing/2014/main" id="{3189FEC7-CC51-4CAE-A6C6-FEA94E439F34}"/>
                </a:ext>
              </a:extLst>
            </p:cNvPr>
            <p:cNvSpPr txBox="1"/>
            <p:nvPr/>
          </p:nvSpPr>
          <p:spPr>
            <a:xfrm>
              <a:off x="8076312" y="246073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5" name="Legend4" hidden="1">
              <a:extLst>
                <a:ext uri="{FF2B5EF4-FFF2-40B4-BE49-F238E27FC236}">
                  <a16:creationId xmlns:a16="http://schemas.microsoft.com/office/drawing/2014/main" id="{21BBB0F4-4F3A-484D-8E0B-EBB347B64AFE}"/>
                </a:ext>
              </a:extLst>
            </p:cNvPr>
            <p:cNvSpPr txBox="1"/>
            <p:nvPr/>
          </p:nvSpPr>
          <p:spPr>
            <a:xfrm>
              <a:off x="8076312" y="2836193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6" name="Legend5" hidden="1">
              <a:extLst>
                <a:ext uri="{FF2B5EF4-FFF2-40B4-BE49-F238E27FC236}">
                  <a16:creationId xmlns:a16="http://schemas.microsoft.com/office/drawing/2014/main" id="{771E2F80-1473-47C1-82BE-1713554C2FF5}"/>
                </a:ext>
              </a:extLst>
            </p:cNvPr>
            <p:cNvSpPr txBox="1"/>
            <p:nvPr/>
          </p:nvSpPr>
          <p:spPr>
            <a:xfrm>
              <a:off x="8076312" y="321165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167" name="MoonLegend1" hidden="1">
              <a:extLst>
                <a:ext uri="{FF2B5EF4-FFF2-40B4-BE49-F238E27FC236}">
                  <a16:creationId xmlns:a16="http://schemas.microsoft.com/office/drawing/2014/main" id="{257648F1-4AEE-48B7-AFF5-A8DEC1282986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91" name="Oval 190" hidden="1">
                <a:extLst>
                  <a:ext uri="{FF2B5EF4-FFF2-40B4-BE49-F238E27FC236}">
                    <a16:creationId xmlns:a16="http://schemas.microsoft.com/office/drawing/2014/main" id="{DE0AC04E-3843-461E-85BB-02189C02D0E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92" name="Arc 191" hidden="1">
                <a:extLst>
                  <a:ext uri="{FF2B5EF4-FFF2-40B4-BE49-F238E27FC236}">
                    <a16:creationId xmlns:a16="http://schemas.microsoft.com/office/drawing/2014/main" id="{E6456482-4CF3-4836-AD30-886DEF507226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68" name="MoonLegend2" hidden="1">
              <a:extLst>
                <a:ext uri="{FF2B5EF4-FFF2-40B4-BE49-F238E27FC236}">
                  <a16:creationId xmlns:a16="http://schemas.microsoft.com/office/drawing/2014/main" id="{F97812AB-8645-4B75-86C0-6BCF902FD82F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89" name="Oval 188" hidden="1">
                <a:extLst>
                  <a:ext uri="{FF2B5EF4-FFF2-40B4-BE49-F238E27FC236}">
                    <a16:creationId xmlns:a16="http://schemas.microsoft.com/office/drawing/2014/main" id="{8D1BABEF-D16B-415A-811D-7E8ACD1CF32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90" name="Arc 189" hidden="1">
                <a:extLst>
                  <a:ext uri="{FF2B5EF4-FFF2-40B4-BE49-F238E27FC236}">
                    <a16:creationId xmlns:a16="http://schemas.microsoft.com/office/drawing/2014/main" id="{B451E5A3-4CB0-48E0-8165-36259B3A1195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79" name="MoonLegend3" hidden="1">
              <a:extLst>
                <a:ext uri="{FF2B5EF4-FFF2-40B4-BE49-F238E27FC236}">
                  <a16:creationId xmlns:a16="http://schemas.microsoft.com/office/drawing/2014/main" id="{CCA1B5A0-01FC-4D63-A5BA-8FF1905A5B98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87" name="Oval 186" hidden="1">
                <a:extLst>
                  <a:ext uri="{FF2B5EF4-FFF2-40B4-BE49-F238E27FC236}">
                    <a16:creationId xmlns:a16="http://schemas.microsoft.com/office/drawing/2014/main" id="{148EF22F-929B-4D1E-BAD3-4F8E0AB9B89E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88" name="Arc 187" hidden="1">
                <a:extLst>
                  <a:ext uri="{FF2B5EF4-FFF2-40B4-BE49-F238E27FC236}">
                    <a16:creationId xmlns:a16="http://schemas.microsoft.com/office/drawing/2014/main" id="{FC3514F6-8FFF-446A-B0F0-157469FC9A2B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80" name="MoonLegend4" hidden="1">
              <a:extLst>
                <a:ext uri="{FF2B5EF4-FFF2-40B4-BE49-F238E27FC236}">
                  <a16:creationId xmlns:a16="http://schemas.microsoft.com/office/drawing/2014/main" id="{1FEB0E84-C05F-4893-810F-76988B257346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84" name="Oval 183" hidden="1">
                <a:extLst>
                  <a:ext uri="{FF2B5EF4-FFF2-40B4-BE49-F238E27FC236}">
                    <a16:creationId xmlns:a16="http://schemas.microsoft.com/office/drawing/2014/main" id="{C1A3C7B0-C48D-4DBA-808D-EFE7D16D82FB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85" name="Arc 184" hidden="1">
                <a:extLst>
                  <a:ext uri="{FF2B5EF4-FFF2-40B4-BE49-F238E27FC236}">
                    <a16:creationId xmlns:a16="http://schemas.microsoft.com/office/drawing/2014/main" id="{24920167-749D-43A3-ACDA-7A2D6395ED68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81" name="MoonLegend5" hidden="1">
              <a:extLst>
                <a:ext uri="{FF2B5EF4-FFF2-40B4-BE49-F238E27FC236}">
                  <a16:creationId xmlns:a16="http://schemas.microsoft.com/office/drawing/2014/main" id="{E0698A10-4500-4D0E-9EC6-A3BD37BE7A9E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82" name="Oval 181" hidden="1">
                <a:extLst>
                  <a:ext uri="{FF2B5EF4-FFF2-40B4-BE49-F238E27FC236}">
                    <a16:creationId xmlns:a16="http://schemas.microsoft.com/office/drawing/2014/main" id="{22BACCB4-258E-43DE-98CC-C8F5A047906B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83" name="Arc 182" hidden="1">
                <a:extLst>
                  <a:ext uri="{FF2B5EF4-FFF2-40B4-BE49-F238E27FC236}">
                    <a16:creationId xmlns:a16="http://schemas.microsoft.com/office/drawing/2014/main" id="{293EEF3B-F6E4-4786-8B6F-C138E7A96529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193" name="LegendBoxes" hidden="1">
            <a:extLst>
              <a:ext uri="{FF2B5EF4-FFF2-40B4-BE49-F238E27FC236}">
                <a16:creationId xmlns:a16="http://schemas.microsoft.com/office/drawing/2014/main" id="{8B383AE1-3237-4072-A4A6-78EF864F79A4}"/>
              </a:ext>
            </a:extLst>
          </p:cNvPr>
          <p:cNvGrpSpPr/>
          <p:nvPr/>
        </p:nvGrpSpPr>
        <p:grpSpPr>
          <a:xfrm>
            <a:off x="10796279" y="4381500"/>
            <a:ext cx="853663" cy="1717282"/>
            <a:chOff x="10652400" y="4322824"/>
            <a:chExt cx="853663" cy="1717282"/>
          </a:xfrm>
        </p:grpSpPr>
        <p:sp>
          <p:nvSpPr>
            <p:cNvPr id="194" name="RectangleLegend1" hidden="1">
              <a:extLst>
                <a:ext uri="{FF2B5EF4-FFF2-40B4-BE49-F238E27FC236}">
                  <a16:creationId xmlns:a16="http://schemas.microsoft.com/office/drawing/2014/main" id="{0EA23167-681D-4989-BC18-D73BAB2B2AB3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5" name="RectangleLegend2" hidden="1">
              <a:extLst>
                <a:ext uri="{FF2B5EF4-FFF2-40B4-BE49-F238E27FC236}">
                  <a16:creationId xmlns:a16="http://schemas.microsoft.com/office/drawing/2014/main" id="{85899BF4-99D2-4E2D-B434-476BCD53AD38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6" name="RectangleLegend3" hidden="1">
              <a:extLst>
                <a:ext uri="{FF2B5EF4-FFF2-40B4-BE49-F238E27FC236}">
                  <a16:creationId xmlns:a16="http://schemas.microsoft.com/office/drawing/2014/main" id="{0B167C30-E7EC-419A-B900-3B3C139473EE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7" name="RectangleLegend4" hidden="1">
              <a:extLst>
                <a:ext uri="{FF2B5EF4-FFF2-40B4-BE49-F238E27FC236}">
                  <a16:creationId xmlns:a16="http://schemas.microsoft.com/office/drawing/2014/main" id="{AB8928CE-7CCC-4607-AA2B-308D14F776C5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7" name="RectangleLegend5" hidden="1">
              <a:extLst>
                <a:ext uri="{FF2B5EF4-FFF2-40B4-BE49-F238E27FC236}">
                  <a16:creationId xmlns:a16="http://schemas.microsoft.com/office/drawing/2014/main" id="{5609DB1D-49A1-469C-B440-1807991995FC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8" name="Legend1" hidden="1">
              <a:extLst>
                <a:ext uri="{FF2B5EF4-FFF2-40B4-BE49-F238E27FC236}">
                  <a16:creationId xmlns:a16="http://schemas.microsoft.com/office/drawing/2014/main" id="{C19D4B62-94C4-4A66-8EAE-32DA3026EC9B}"/>
                </a:ext>
              </a:extLst>
            </p:cNvPr>
            <p:cNvSpPr txBox="1"/>
            <p:nvPr/>
          </p:nvSpPr>
          <p:spPr>
            <a:xfrm>
              <a:off x="10978546" y="432282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9" name="Legend2" hidden="1">
              <a:extLst>
                <a:ext uri="{FF2B5EF4-FFF2-40B4-BE49-F238E27FC236}">
                  <a16:creationId xmlns:a16="http://schemas.microsoft.com/office/drawing/2014/main" id="{430CE5FC-9225-4C54-87D2-42C918FC9E0E}"/>
                </a:ext>
              </a:extLst>
            </p:cNvPr>
            <p:cNvSpPr txBox="1"/>
            <p:nvPr/>
          </p:nvSpPr>
          <p:spPr>
            <a:xfrm>
              <a:off x="10978546" y="470232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30" name="Legend3" hidden="1">
              <a:extLst>
                <a:ext uri="{FF2B5EF4-FFF2-40B4-BE49-F238E27FC236}">
                  <a16:creationId xmlns:a16="http://schemas.microsoft.com/office/drawing/2014/main" id="{2F383794-289F-4C43-8E59-C7B62CE7627E}"/>
                </a:ext>
              </a:extLst>
            </p:cNvPr>
            <p:cNvSpPr txBox="1"/>
            <p:nvPr/>
          </p:nvSpPr>
          <p:spPr>
            <a:xfrm>
              <a:off x="10978546" y="5081820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31" name="Legend4" hidden="1">
              <a:extLst>
                <a:ext uri="{FF2B5EF4-FFF2-40B4-BE49-F238E27FC236}">
                  <a16:creationId xmlns:a16="http://schemas.microsoft.com/office/drawing/2014/main" id="{FF3D5E8A-C4CA-410D-A740-D54C4CF48892}"/>
                </a:ext>
              </a:extLst>
            </p:cNvPr>
            <p:cNvSpPr txBox="1"/>
            <p:nvPr/>
          </p:nvSpPr>
          <p:spPr>
            <a:xfrm>
              <a:off x="10978546" y="5453241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32" name="Legend5" hidden="1">
              <a:extLst>
                <a:ext uri="{FF2B5EF4-FFF2-40B4-BE49-F238E27FC236}">
                  <a16:creationId xmlns:a16="http://schemas.microsoft.com/office/drawing/2014/main" id="{D48CF223-4C15-47D6-AF1A-6CDC04B4C1F8}"/>
                </a:ext>
              </a:extLst>
            </p:cNvPr>
            <p:cNvSpPr txBox="1"/>
            <p:nvPr/>
          </p:nvSpPr>
          <p:spPr>
            <a:xfrm>
              <a:off x="10978545" y="582466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pic>
        <p:nvPicPr>
          <p:cNvPr id="170" name="Picture 169">
            <a:extLst>
              <a:ext uri="{FF2B5EF4-FFF2-40B4-BE49-F238E27FC236}">
                <a16:creationId xmlns:a16="http://schemas.microsoft.com/office/drawing/2014/main" id="{DC939171-6E8C-4D80-A238-095B81711D68}"/>
              </a:ext>
            </a:extLst>
          </p:cNvPr>
          <p:cNvPicPr>
            <a:picLocks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72" name="Group 171">
            <a:extLst>
              <a:ext uri="{FF2B5EF4-FFF2-40B4-BE49-F238E27FC236}">
                <a16:creationId xmlns:a16="http://schemas.microsoft.com/office/drawing/2014/main" id="{11CDD93D-7B95-47D6-B3F8-1CC7258B1D37}"/>
              </a:ext>
            </a:extLst>
          </p:cNvPr>
          <p:cNvGrpSpPr/>
          <p:nvPr/>
        </p:nvGrpSpPr>
        <p:grpSpPr>
          <a:xfrm>
            <a:off x="554736" y="6368464"/>
            <a:ext cx="11082528" cy="54693"/>
            <a:chOff x="554736" y="6349068"/>
            <a:chExt cx="11082528" cy="54693"/>
          </a:xfrm>
        </p:grpSpPr>
        <p:cxnSp>
          <p:nvCxnSpPr>
            <p:cNvPr id="173" name="Straight Connector 172">
              <a:extLst>
                <a:ext uri="{FF2B5EF4-FFF2-40B4-BE49-F238E27FC236}">
                  <a16:creationId xmlns:a16="http://schemas.microsoft.com/office/drawing/2014/main" id="{BD712AA2-F213-4DA0-A97B-22A6B333B296}"/>
                </a:ext>
              </a:extLst>
            </p:cNvPr>
            <p:cNvCxnSpPr/>
            <p:nvPr userDrawn="1"/>
          </p:nvCxnSpPr>
          <p:spPr bwMode="ltGray">
            <a:xfrm flipV="1">
              <a:off x="554741" y="6349072"/>
              <a:ext cx="11082523" cy="17939"/>
            </a:xfrm>
            <a:prstGeom prst="line">
              <a:avLst/>
            </a:prstGeom>
            <a:noFill/>
            <a:ln w="6350" cap="flat" cmpd="sng" algn="ctr">
              <a:solidFill>
                <a:srgbClr val="A5A5A5"/>
              </a:solidFill>
              <a:prstDash val="solid"/>
              <a:miter lim="800000"/>
            </a:ln>
            <a:effectLst/>
          </p:spPr>
        </p:cxnSp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4263DFF2-9F58-4ECB-B41E-6B47E8753649}"/>
                </a:ext>
              </a:extLst>
            </p:cNvPr>
            <p:cNvSpPr/>
            <p:nvPr userDrawn="1"/>
          </p:nvSpPr>
          <p:spPr bwMode="ltGray">
            <a:xfrm>
              <a:off x="554736" y="6358042"/>
              <a:ext cx="2797733" cy="45719"/>
            </a:xfrm>
            <a:prstGeom prst="rect">
              <a:avLst/>
            </a:prstGeom>
            <a:solidFill>
              <a:srgbClr val="000000">
                <a:lumMod val="65000"/>
                <a:lumOff val="3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5" name="Rectangle 174">
              <a:extLst>
                <a:ext uri="{FF2B5EF4-FFF2-40B4-BE49-F238E27FC236}">
                  <a16:creationId xmlns:a16="http://schemas.microsoft.com/office/drawing/2014/main" id="{5148BDD5-08D6-47E3-92F7-471A9F316451}"/>
                </a:ext>
              </a:extLst>
            </p:cNvPr>
            <p:cNvSpPr/>
            <p:nvPr userDrawn="1"/>
          </p:nvSpPr>
          <p:spPr bwMode="ltGray">
            <a:xfrm>
              <a:off x="10671243" y="6349068"/>
              <a:ext cx="966017" cy="54688"/>
            </a:xfrm>
            <a:prstGeom prst="rect">
              <a:avLst/>
            </a:prstGeom>
            <a:solidFill>
              <a:srgbClr val="000000">
                <a:lumMod val="65000"/>
                <a:lumOff val="3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96475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  <p:sldLayoutId id="2147483680" r:id="rId12"/>
    <p:sldLayoutId id="2147483681" r:id="rId13"/>
    <p:sldLayoutId id="2147483682" r:id="rId14"/>
    <p:sldLayoutId id="2147483683" r:id="rId15"/>
    <p:sldLayoutId id="2147483666" r:id="rId16"/>
    <p:sldLayoutId id="2147483667" r:id="rId17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42913" indent="-2143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8488" indent="-1524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7563" indent="-1476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0B17A4-151A-442A-85BB-61D97FD47CDC}"/>
              </a:ext>
            </a:extLst>
          </p:cNvPr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4170031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5" imgW="592" imgH="591" progId="TCLayout.ActiveDocument.1">
                  <p:embed/>
                </p:oleObj>
              </mc:Choice>
              <mc:Fallback>
                <p:oleObj name="think-cell Slide" r:id="rId4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40B17A4-151A-442A-85BB-61D97FD47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3399E7-290D-4CE6-AA08-2DA0CF307E1C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>
            <p:custDataLst>
              <p:tags r:id="rId27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>
            <p:custDataLst>
              <p:tags r:id="rId28"/>
            </p:custDataLst>
          </p:nvPr>
        </p:nvSpPr>
        <p:spPr>
          <a:xfrm>
            <a:off x="553972" y="6190849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176" name="Sticker" hidden="1">
            <a:extLst>
              <a:ext uri="{FF2B5EF4-FFF2-40B4-BE49-F238E27FC236}">
                <a16:creationId xmlns:a16="http://schemas.microsoft.com/office/drawing/2014/main" id="{F05F3D84-B1F2-4969-91DD-7BB0F78A4159}"/>
              </a:ext>
            </a:extLst>
          </p:cNvPr>
          <p:cNvSpPr txBox="1"/>
          <p:nvPr/>
        </p:nvSpPr>
        <p:spPr>
          <a:xfrm>
            <a:off x="554736" y="1198743"/>
            <a:ext cx="344646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 lvl="0"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207" name="ACET" hidden="1">
            <a:extLst>
              <a:ext uri="{FF2B5EF4-FFF2-40B4-BE49-F238E27FC236}">
                <a16:creationId xmlns:a16="http://schemas.microsoft.com/office/drawing/2014/main" id="{9C1AB688-8E46-4BED-871D-3FE073C183F2}"/>
              </a:ext>
            </a:extLst>
          </p:cNvPr>
          <p:cNvSpPr txBox="1"/>
          <p:nvPr>
            <p:custDataLst>
              <p:tags r:id="rId29"/>
            </p:custDataLst>
          </p:nvPr>
        </p:nvSpPr>
        <p:spPr>
          <a:xfrm>
            <a:off x="5987738" y="2170800"/>
            <a:ext cx="3049253" cy="49244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  <a:br>
              <a:rPr lang="en-US"/>
            </a:br>
            <a:r>
              <a:rPr lang="en-US"/>
              <a:t>Unit of Meas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A8BC65-10CC-4404-9B17-2797DDA477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1646241"/>
            <a:ext cx="4380112" cy="13849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69" name="LegendBoxes" hidden="1">
            <a:extLst>
              <a:ext uri="{FF2B5EF4-FFF2-40B4-BE49-F238E27FC236}">
                <a16:creationId xmlns:a16="http://schemas.microsoft.com/office/drawing/2014/main" id="{336CF73D-9EAC-4C82-AD58-75B535DC99C3}"/>
              </a:ext>
            </a:extLst>
          </p:cNvPr>
          <p:cNvGrpSpPr/>
          <p:nvPr/>
        </p:nvGrpSpPr>
        <p:grpSpPr>
          <a:xfrm>
            <a:off x="10796279" y="4381500"/>
            <a:ext cx="853663" cy="1717282"/>
            <a:chOff x="10554770" y="4322824"/>
            <a:chExt cx="853663" cy="1717282"/>
          </a:xfrm>
        </p:grpSpPr>
        <p:sp>
          <p:nvSpPr>
            <p:cNvPr id="173" name="RectangleLegend1" hidden="1">
              <a:extLst>
                <a:ext uri="{FF2B5EF4-FFF2-40B4-BE49-F238E27FC236}">
                  <a16:creationId xmlns:a16="http://schemas.microsoft.com/office/drawing/2014/main" id="{AA5104CD-50B9-4BE6-8443-27997BD1F1D2}"/>
                </a:ext>
              </a:extLst>
            </p:cNvPr>
            <p:cNvSpPr/>
            <p:nvPr/>
          </p:nvSpPr>
          <p:spPr>
            <a:xfrm>
              <a:off x="1055477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74" name="RectangleLegend2" hidden="1">
              <a:extLst>
                <a:ext uri="{FF2B5EF4-FFF2-40B4-BE49-F238E27FC236}">
                  <a16:creationId xmlns:a16="http://schemas.microsoft.com/office/drawing/2014/main" id="{E3E9EF4F-BA87-4696-BE55-DA11A7F483A7}"/>
                </a:ext>
              </a:extLst>
            </p:cNvPr>
            <p:cNvSpPr/>
            <p:nvPr/>
          </p:nvSpPr>
          <p:spPr>
            <a:xfrm>
              <a:off x="1055477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75" name="RectangleLegend3" hidden="1">
              <a:extLst>
                <a:ext uri="{FF2B5EF4-FFF2-40B4-BE49-F238E27FC236}">
                  <a16:creationId xmlns:a16="http://schemas.microsoft.com/office/drawing/2014/main" id="{5FA551E2-2E6B-4135-BA35-83381928274A}"/>
                </a:ext>
              </a:extLst>
            </p:cNvPr>
            <p:cNvSpPr/>
            <p:nvPr/>
          </p:nvSpPr>
          <p:spPr>
            <a:xfrm>
              <a:off x="1055477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77" name="RectangleLegend4" hidden="1">
              <a:extLst>
                <a:ext uri="{FF2B5EF4-FFF2-40B4-BE49-F238E27FC236}">
                  <a16:creationId xmlns:a16="http://schemas.microsoft.com/office/drawing/2014/main" id="{7E97B814-5DB9-461D-93D9-AEAE6BFED3CF}"/>
                </a:ext>
              </a:extLst>
            </p:cNvPr>
            <p:cNvSpPr/>
            <p:nvPr/>
          </p:nvSpPr>
          <p:spPr>
            <a:xfrm>
              <a:off x="1055477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78" name="RectangleLegend5" hidden="1">
              <a:extLst>
                <a:ext uri="{FF2B5EF4-FFF2-40B4-BE49-F238E27FC236}">
                  <a16:creationId xmlns:a16="http://schemas.microsoft.com/office/drawing/2014/main" id="{042935EC-D202-4B62-80EA-47DDDC150C3B}"/>
                </a:ext>
              </a:extLst>
            </p:cNvPr>
            <p:cNvSpPr/>
            <p:nvPr/>
          </p:nvSpPr>
          <p:spPr>
            <a:xfrm>
              <a:off x="1055477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79" name="Legend1" hidden="1">
              <a:extLst>
                <a:ext uri="{FF2B5EF4-FFF2-40B4-BE49-F238E27FC236}">
                  <a16:creationId xmlns:a16="http://schemas.microsoft.com/office/drawing/2014/main" id="{70C00A86-5BCD-4D56-8A52-E5BFF4610EED}"/>
                </a:ext>
              </a:extLst>
            </p:cNvPr>
            <p:cNvSpPr txBox="1"/>
            <p:nvPr/>
          </p:nvSpPr>
          <p:spPr>
            <a:xfrm>
              <a:off x="10880916" y="432282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0" name="Legend2" hidden="1">
              <a:extLst>
                <a:ext uri="{FF2B5EF4-FFF2-40B4-BE49-F238E27FC236}">
                  <a16:creationId xmlns:a16="http://schemas.microsoft.com/office/drawing/2014/main" id="{C3BD56F4-BE7A-4411-96C7-17EDB0FAA986}"/>
                </a:ext>
              </a:extLst>
            </p:cNvPr>
            <p:cNvSpPr txBox="1"/>
            <p:nvPr/>
          </p:nvSpPr>
          <p:spPr>
            <a:xfrm>
              <a:off x="10880916" y="470232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1" name="Legend3" hidden="1">
              <a:extLst>
                <a:ext uri="{FF2B5EF4-FFF2-40B4-BE49-F238E27FC236}">
                  <a16:creationId xmlns:a16="http://schemas.microsoft.com/office/drawing/2014/main" id="{66069E57-314F-4621-8C4F-22B7F692D52F}"/>
                </a:ext>
              </a:extLst>
            </p:cNvPr>
            <p:cNvSpPr txBox="1"/>
            <p:nvPr/>
          </p:nvSpPr>
          <p:spPr>
            <a:xfrm>
              <a:off x="10880916" y="5081820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2" name="Legend4" hidden="1">
              <a:extLst>
                <a:ext uri="{FF2B5EF4-FFF2-40B4-BE49-F238E27FC236}">
                  <a16:creationId xmlns:a16="http://schemas.microsoft.com/office/drawing/2014/main" id="{CAC0FB10-E1AD-4DED-A5AE-63C68ACCA51C}"/>
                </a:ext>
              </a:extLst>
            </p:cNvPr>
            <p:cNvSpPr txBox="1"/>
            <p:nvPr/>
          </p:nvSpPr>
          <p:spPr>
            <a:xfrm>
              <a:off x="10880916" y="5453241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3" name="Legend5" hidden="1">
              <a:extLst>
                <a:ext uri="{FF2B5EF4-FFF2-40B4-BE49-F238E27FC236}">
                  <a16:creationId xmlns:a16="http://schemas.microsoft.com/office/drawing/2014/main" id="{06570D92-C22D-4A0D-9744-8B3238FDC07B}"/>
                </a:ext>
              </a:extLst>
            </p:cNvPr>
            <p:cNvSpPr txBox="1"/>
            <p:nvPr/>
          </p:nvSpPr>
          <p:spPr>
            <a:xfrm>
              <a:off x="10880915" y="582466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grpSp>
        <p:nvGrpSpPr>
          <p:cNvPr id="184" name="LegendLines" hidden="1">
            <a:extLst>
              <a:ext uri="{FF2B5EF4-FFF2-40B4-BE49-F238E27FC236}">
                <a16:creationId xmlns:a16="http://schemas.microsoft.com/office/drawing/2014/main" id="{34D5A2B5-208E-4F7E-9894-D28B0349589C}"/>
              </a:ext>
            </a:extLst>
          </p:cNvPr>
          <p:cNvGrpSpPr/>
          <p:nvPr/>
        </p:nvGrpSpPr>
        <p:grpSpPr>
          <a:xfrm>
            <a:off x="10398782" y="3150831"/>
            <a:ext cx="1251160" cy="958286"/>
            <a:chOff x="10162879" y="3243772"/>
            <a:chExt cx="1251160" cy="958286"/>
          </a:xfrm>
        </p:grpSpPr>
        <p:sp>
          <p:nvSpPr>
            <p:cNvPr id="185" name="Legend1" hidden="1">
              <a:extLst>
                <a:ext uri="{FF2B5EF4-FFF2-40B4-BE49-F238E27FC236}">
                  <a16:creationId xmlns:a16="http://schemas.microsoft.com/office/drawing/2014/main" id="{3BDF2997-A746-4065-A335-1EC2B713EC45}"/>
                </a:ext>
              </a:extLst>
            </p:cNvPr>
            <p:cNvSpPr txBox="1"/>
            <p:nvPr/>
          </p:nvSpPr>
          <p:spPr>
            <a:xfrm>
              <a:off x="10886522" y="324377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627FC6EC-32D9-4B92-A010-9684C50541D4}"/>
                </a:ext>
              </a:extLst>
            </p:cNvPr>
            <p:cNvSpPr txBox="1"/>
            <p:nvPr/>
          </p:nvSpPr>
          <p:spPr>
            <a:xfrm>
              <a:off x="10886522" y="3615193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7" name="Legend3" hidden="1">
              <a:extLst>
                <a:ext uri="{FF2B5EF4-FFF2-40B4-BE49-F238E27FC236}">
                  <a16:creationId xmlns:a16="http://schemas.microsoft.com/office/drawing/2014/main" id="{FD789B3D-964F-4D5A-86F3-7CAE2494B254}"/>
                </a:ext>
              </a:extLst>
            </p:cNvPr>
            <p:cNvSpPr txBox="1"/>
            <p:nvPr/>
          </p:nvSpPr>
          <p:spPr>
            <a:xfrm>
              <a:off x="10886522" y="398661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8" name="LineLegend3" hidden="1">
              <a:extLst>
                <a:ext uri="{FF2B5EF4-FFF2-40B4-BE49-F238E27FC236}">
                  <a16:creationId xmlns:a16="http://schemas.microsoft.com/office/drawing/2014/main" id="{976FF6AB-E20C-4F87-BD90-25A54009533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latin typeface="+mn-lt"/>
                <a:ea typeface="+mn-ea"/>
              </a:endParaRPr>
            </a:p>
          </p:txBody>
        </p:sp>
        <p:sp>
          <p:nvSpPr>
            <p:cNvPr id="189" name="LineLegend2" hidden="1">
              <a:extLst>
                <a:ext uri="{FF2B5EF4-FFF2-40B4-BE49-F238E27FC236}">
                  <a16:creationId xmlns:a16="http://schemas.microsoft.com/office/drawing/2014/main" id="{49D21340-396F-48FD-BAF7-75D68450957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latin typeface="+mn-lt"/>
                <a:ea typeface="+mn-ea"/>
              </a:endParaRPr>
            </a:p>
          </p:txBody>
        </p:sp>
        <p:sp>
          <p:nvSpPr>
            <p:cNvPr id="190" name="LineLegend1" hidden="1">
              <a:extLst>
                <a:ext uri="{FF2B5EF4-FFF2-40B4-BE49-F238E27FC236}">
                  <a16:creationId xmlns:a16="http://schemas.microsoft.com/office/drawing/2014/main" id="{63956254-A8B3-4274-B7DF-E21E3D24370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latin typeface="+mn-lt"/>
                <a:ea typeface="+mn-ea"/>
              </a:endParaRPr>
            </a:p>
          </p:txBody>
        </p:sp>
      </p:grpSp>
      <p:grpSp>
        <p:nvGrpSpPr>
          <p:cNvPr id="191" name="LegendMoons" hidden="1">
            <a:extLst>
              <a:ext uri="{FF2B5EF4-FFF2-40B4-BE49-F238E27FC236}">
                <a16:creationId xmlns:a16="http://schemas.microsoft.com/office/drawing/2014/main" id="{5E2BE3E0-F201-4452-BDD9-2476EAADC002}"/>
              </a:ext>
            </a:extLst>
          </p:cNvPr>
          <p:cNvGrpSpPr/>
          <p:nvPr/>
        </p:nvGrpSpPr>
        <p:grpSpPr>
          <a:xfrm>
            <a:off x="10769793" y="1145373"/>
            <a:ext cx="880149" cy="1731859"/>
            <a:chOff x="7716535" y="2630582"/>
            <a:chExt cx="880149" cy="1731859"/>
          </a:xfrm>
        </p:grpSpPr>
        <p:sp>
          <p:nvSpPr>
            <p:cNvPr id="192" name="Legend1" hidden="1">
              <a:extLst>
                <a:ext uri="{FF2B5EF4-FFF2-40B4-BE49-F238E27FC236}">
                  <a16:creationId xmlns:a16="http://schemas.microsoft.com/office/drawing/2014/main" id="{1275E184-31CD-4843-8D0B-0D16FAC758EE}"/>
                </a:ext>
              </a:extLst>
            </p:cNvPr>
            <p:cNvSpPr txBox="1"/>
            <p:nvPr/>
          </p:nvSpPr>
          <p:spPr>
            <a:xfrm>
              <a:off x="8069167" y="2637941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3" name="Legend2" hidden="1">
              <a:extLst>
                <a:ext uri="{FF2B5EF4-FFF2-40B4-BE49-F238E27FC236}">
                  <a16:creationId xmlns:a16="http://schemas.microsoft.com/office/drawing/2014/main" id="{A83DA2D0-FADB-4D27-BCCE-9C0A111EA84A}"/>
                </a:ext>
              </a:extLst>
            </p:cNvPr>
            <p:cNvSpPr txBox="1"/>
            <p:nvPr/>
          </p:nvSpPr>
          <p:spPr>
            <a:xfrm>
              <a:off x="8069167" y="3013400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4" name="Legend3" hidden="1">
              <a:extLst>
                <a:ext uri="{FF2B5EF4-FFF2-40B4-BE49-F238E27FC236}">
                  <a16:creationId xmlns:a16="http://schemas.microsoft.com/office/drawing/2014/main" id="{8A2D9901-F045-4DBC-950F-430313A8A38A}"/>
                </a:ext>
              </a:extLst>
            </p:cNvPr>
            <p:cNvSpPr txBox="1"/>
            <p:nvPr/>
          </p:nvSpPr>
          <p:spPr>
            <a:xfrm>
              <a:off x="8069167" y="3388859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5" name="Legend4" hidden="1">
              <a:extLst>
                <a:ext uri="{FF2B5EF4-FFF2-40B4-BE49-F238E27FC236}">
                  <a16:creationId xmlns:a16="http://schemas.microsoft.com/office/drawing/2014/main" id="{96D27194-105B-4B87-9475-7D68B31E119E}"/>
                </a:ext>
              </a:extLst>
            </p:cNvPr>
            <p:cNvSpPr txBox="1"/>
            <p:nvPr/>
          </p:nvSpPr>
          <p:spPr>
            <a:xfrm>
              <a:off x="8069167" y="3764318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6" name="Legend5" hidden="1">
              <a:extLst>
                <a:ext uri="{FF2B5EF4-FFF2-40B4-BE49-F238E27FC236}">
                  <a16:creationId xmlns:a16="http://schemas.microsoft.com/office/drawing/2014/main" id="{D610964F-6013-43D3-ADB7-719AF93C8180}"/>
                </a:ext>
              </a:extLst>
            </p:cNvPr>
            <p:cNvSpPr txBox="1"/>
            <p:nvPr/>
          </p:nvSpPr>
          <p:spPr>
            <a:xfrm>
              <a:off x="8069167" y="4139779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197" name="MoonLegend1" hidden="1">
              <a:extLst>
                <a:ext uri="{FF2B5EF4-FFF2-40B4-BE49-F238E27FC236}">
                  <a16:creationId xmlns:a16="http://schemas.microsoft.com/office/drawing/2014/main" id="{77604726-049C-4EC7-9F31-4A9238238362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16535" y="2630582"/>
              <a:ext cx="228600" cy="228600"/>
              <a:chOff x="762000" y="1270000"/>
              <a:chExt cx="254000" cy="254000"/>
            </a:xfrm>
          </p:grpSpPr>
          <p:sp>
            <p:nvSpPr>
              <p:cNvPr id="228" name="Oval 227" hidden="1">
                <a:extLst>
                  <a:ext uri="{FF2B5EF4-FFF2-40B4-BE49-F238E27FC236}">
                    <a16:creationId xmlns:a16="http://schemas.microsoft.com/office/drawing/2014/main" id="{AC96FFDC-3A91-49F4-AED1-8F1D7AFADC8D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29" name="Arc 228" hidden="1">
                <a:extLst>
                  <a:ext uri="{FF2B5EF4-FFF2-40B4-BE49-F238E27FC236}">
                    <a16:creationId xmlns:a16="http://schemas.microsoft.com/office/drawing/2014/main" id="{C34DC120-4E4A-45C0-9285-6E0C89255FB1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98" name="MoonLegend2" hidden="1">
              <a:extLst>
                <a:ext uri="{FF2B5EF4-FFF2-40B4-BE49-F238E27FC236}">
                  <a16:creationId xmlns:a16="http://schemas.microsoft.com/office/drawing/2014/main" id="{D899F0C0-098A-4F1A-ADEA-212A76A1CEF5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16535" y="3006395"/>
              <a:ext cx="228600" cy="228600"/>
              <a:chOff x="762000" y="1270000"/>
              <a:chExt cx="254000" cy="254000"/>
            </a:xfrm>
          </p:grpSpPr>
          <p:sp>
            <p:nvSpPr>
              <p:cNvPr id="226" name="Oval 225" hidden="1">
                <a:extLst>
                  <a:ext uri="{FF2B5EF4-FFF2-40B4-BE49-F238E27FC236}">
                    <a16:creationId xmlns:a16="http://schemas.microsoft.com/office/drawing/2014/main" id="{4F194C43-1FB0-4C74-8381-C17A3CB1F3B6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27" name="Arc 226" hidden="1">
                <a:extLst>
                  <a:ext uri="{FF2B5EF4-FFF2-40B4-BE49-F238E27FC236}">
                    <a16:creationId xmlns:a16="http://schemas.microsoft.com/office/drawing/2014/main" id="{EC193FEE-8592-4349-ADAB-3DBB6D4929E1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99" name="MoonLegend3" hidden="1">
              <a:extLst>
                <a:ext uri="{FF2B5EF4-FFF2-40B4-BE49-F238E27FC236}">
                  <a16:creationId xmlns:a16="http://schemas.microsoft.com/office/drawing/2014/main" id="{47B05558-F119-4B9E-A39E-3F2C87CA5CE4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16535" y="3382210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89D0E997-1ACF-4F07-98C8-AAB979251932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25" name="Arc 224" hidden="1">
                <a:extLst>
                  <a:ext uri="{FF2B5EF4-FFF2-40B4-BE49-F238E27FC236}">
                    <a16:creationId xmlns:a16="http://schemas.microsoft.com/office/drawing/2014/main" id="{0EE7967E-AA23-4D95-813C-5D762562F98E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0" name="MoonLegend4" hidden="1">
              <a:extLst>
                <a:ext uri="{FF2B5EF4-FFF2-40B4-BE49-F238E27FC236}">
                  <a16:creationId xmlns:a16="http://schemas.microsoft.com/office/drawing/2014/main" id="{A9A7FEE2-DE39-4796-853F-F0C545E65699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16535" y="3758025"/>
              <a:ext cx="228600" cy="228600"/>
              <a:chOff x="762000" y="1270000"/>
              <a:chExt cx="254000" cy="254000"/>
            </a:xfrm>
          </p:grpSpPr>
          <p:sp>
            <p:nvSpPr>
              <p:cNvPr id="204" name="Oval 203" hidden="1">
                <a:extLst>
                  <a:ext uri="{FF2B5EF4-FFF2-40B4-BE49-F238E27FC236}">
                    <a16:creationId xmlns:a16="http://schemas.microsoft.com/office/drawing/2014/main" id="{DBE84A29-DEA9-4004-AEB0-AE0022F70854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5" name="Arc 204" hidden="1">
                <a:extLst>
                  <a:ext uri="{FF2B5EF4-FFF2-40B4-BE49-F238E27FC236}">
                    <a16:creationId xmlns:a16="http://schemas.microsoft.com/office/drawing/2014/main" id="{CC9C47BC-CBF9-48ED-8A45-1C0330BAB765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1" name="MoonLegend5" hidden="1">
              <a:extLst>
                <a:ext uri="{FF2B5EF4-FFF2-40B4-BE49-F238E27FC236}">
                  <a16:creationId xmlns:a16="http://schemas.microsoft.com/office/drawing/2014/main" id="{FEF6CE26-150D-4B22-9ED7-CC44BB86B871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16535" y="4133841"/>
              <a:ext cx="228600" cy="228600"/>
              <a:chOff x="762000" y="1270000"/>
              <a:chExt cx="254000" cy="254000"/>
            </a:xfrm>
          </p:grpSpPr>
          <p:sp>
            <p:nvSpPr>
              <p:cNvPr id="202" name="Oval 201" hidden="1">
                <a:extLst>
                  <a:ext uri="{FF2B5EF4-FFF2-40B4-BE49-F238E27FC236}">
                    <a16:creationId xmlns:a16="http://schemas.microsoft.com/office/drawing/2014/main" id="{1EB555AF-AD78-4E43-A189-D3CD2615E664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3" name="Arc 202" hidden="1">
                <a:extLst>
                  <a:ext uri="{FF2B5EF4-FFF2-40B4-BE49-F238E27FC236}">
                    <a16:creationId xmlns:a16="http://schemas.microsoft.com/office/drawing/2014/main" id="{0EE81E0A-F565-4B8C-85A0-8E41337C018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pic>
        <p:nvPicPr>
          <p:cNvPr id="146" name="Picture 145">
            <a:extLst>
              <a:ext uri="{FF2B5EF4-FFF2-40B4-BE49-F238E27FC236}">
                <a16:creationId xmlns:a16="http://schemas.microsoft.com/office/drawing/2014/main" id="{E3156152-E06E-43BF-A0F6-6417AC24061F}"/>
              </a:ext>
            </a:extLst>
          </p:cNvPr>
          <p:cNvPicPr>
            <a:picLocks/>
          </p:cNvPicPr>
          <p:nvPr/>
        </p:nvPicPr>
        <p:blipFill>
          <a:blip r:embed="rId47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47" name="Group 146">
            <a:extLst>
              <a:ext uri="{FF2B5EF4-FFF2-40B4-BE49-F238E27FC236}">
                <a16:creationId xmlns:a16="http://schemas.microsoft.com/office/drawing/2014/main" id="{526AB256-5CD5-4CA3-B576-569F716943D3}"/>
              </a:ext>
            </a:extLst>
          </p:cNvPr>
          <p:cNvGrpSpPr/>
          <p:nvPr/>
        </p:nvGrpSpPr>
        <p:grpSpPr>
          <a:xfrm>
            <a:off x="554736" y="6368464"/>
            <a:ext cx="11082528" cy="54693"/>
            <a:chOff x="554736" y="6349068"/>
            <a:chExt cx="11082528" cy="54693"/>
          </a:xfrm>
          <a:solidFill>
            <a:schemeClr val="accent1"/>
          </a:solidFill>
        </p:grpSpPr>
        <p:cxnSp>
          <p:nvCxnSpPr>
            <p:cNvPr id="148" name="Straight Connector 147">
              <a:extLst>
                <a:ext uri="{FF2B5EF4-FFF2-40B4-BE49-F238E27FC236}">
                  <a16:creationId xmlns:a16="http://schemas.microsoft.com/office/drawing/2014/main" id="{80E5D51F-9DED-49A3-9245-E7989703E3C8}"/>
                </a:ext>
              </a:extLst>
            </p:cNvPr>
            <p:cNvCxnSpPr/>
            <p:nvPr userDrawn="1"/>
          </p:nvCxnSpPr>
          <p:spPr bwMode="ltGray">
            <a:xfrm flipV="1">
              <a:off x="554741" y="6349072"/>
              <a:ext cx="11082523" cy="17939"/>
            </a:xfrm>
            <a:prstGeom prst="line">
              <a:avLst/>
            </a:prstGeom>
            <a:grpFill/>
            <a:ln w="6350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</p:cxn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0416E5CC-65D0-4640-A126-9E1DC1C3A90E}"/>
                </a:ext>
              </a:extLst>
            </p:cNvPr>
            <p:cNvSpPr/>
            <p:nvPr userDrawn="1"/>
          </p:nvSpPr>
          <p:spPr bwMode="ltGray">
            <a:xfrm>
              <a:off x="554736" y="6358042"/>
              <a:ext cx="2797733" cy="45719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903A921A-FFDF-4D81-8EAF-2D168CA67FA8}"/>
                </a:ext>
              </a:extLst>
            </p:cNvPr>
            <p:cNvSpPr/>
            <p:nvPr userDrawn="1"/>
          </p:nvSpPr>
          <p:spPr bwMode="ltGray">
            <a:xfrm>
              <a:off x="10671243" y="6349068"/>
              <a:ext cx="966017" cy="54688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A978CEAD-523A-3B90-BDC2-CE3FDE2F2CB2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63500" y="63500"/>
            <a:ext cx="3783013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assified as Public and Information can be shared with anyone needful of the Information.</a:t>
            </a:r>
          </a:p>
        </p:txBody>
      </p:sp>
    </p:spTree>
    <p:extLst>
      <p:ext uri="{BB962C8B-B14F-4D97-AF65-F5344CB8AC3E}">
        <p14:creationId xmlns:p14="http://schemas.microsoft.com/office/powerpoint/2010/main" val="3163080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01" r:id="rId15"/>
    <p:sldLayoutId id="2147483702" r:id="rId16"/>
    <p:sldLayoutId id="2147483703" r:id="rId17"/>
    <p:sldLayoutId id="2147483704" r:id="rId18"/>
    <p:sldLayoutId id="2147483756" r:id="rId19"/>
    <p:sldLayoutId id="2147483757" r:id="rId20"/>
    <p:sldLayoutId id="2147483758" r:id="rId21"/>
    <p:sldLayoutId id="2147483759" r:id="rId22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42913" indent="-2143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598488" indent="-1524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817563" indent="-1476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7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200" b="0" i="0" baseline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9" name="Picture 108"/>
          <p:cNvPicPr>
            <a:picLocks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233258" y="6468512"/>
            <a:ext cx="2889060" cy="26923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5" name="Straight Connector 104"/>
          <p:cNvCxnSpPr/>
          <p:nvPr/>
        </p:nvCxnSpPr>
        <p:spPr bwMode="ltGray">
          <a:xfrm flipV="1">
            <a:off x="233263" y="6310160"/>
            <a:ext cx="11725480" cy="17939"/>
          </a:xfrm>
          <a:prstGeom prst="line">
            <a:avLst/>
          </a:prstGeom>
          <a:noFill/>
          <a:ln w="6350" cap="flat" cmpd="sng" algn="ctr">
            <a:solidFill>
              <a:srgbClr val="A5A5A5"/>
            </a:solidFill>
            <a:prstDash val="solid"/>
            <a:miter lim="800000"/>
          </a:ln>
          <a:effectLst/>
        </p:spPr>
      </p:cxnSp>
      <p:sp>
        <p:nvSpPr>
          <p:cNvPr id="106" name="Rectangle 105"/>
          <p:cNvSpPr/>
          <p:nvPr/>
        </p:nvSpPr>
        <p:spPr bwMode="ltGray">
          <a:xfrm>
            <a:off x="10650379" y="6310156"/>
            <a:ext cx="1308360" cy="54688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7" name="Rectangle 106"/>
          <p:cNvSpPr/>
          <p:nvPr/>
        </p:nvSpPr>
        <p:spPr bwMode="ltGray">
          <a:xfrm>
            <a:off x="233258" y="6319130"/>
            <a:ext cx="2960044" cy="45719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4" name="Slide Number"/>
          <p:cNvSpPr txBox="1">
            <a:spLocks/>
          </p:cNvSpPr>
          <p:nvPr/>
        </p:nvSpPr>
        <p:spPr bwMode="auto">
          <a:xfrm>
            <a:off x="11808061" y="6583245"/>
            <a:ext cx="150682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1000" baseline="0" smtClean="0">
                <a:solidFill>
                  <a:schemeClr val="tx1"/>
                </a:solidFill>
                <a:latin typeface="+mn-lt"/>
              </a:rPr>
              <a:pPr algn="r"/>
              <a:t>‹#›</a:t>
            </a:fld>
            <a:endParaRPr lang="en-US" sz="1000" baseline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1280762" y="2309206"/>
            <a:ext cx="1689565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aseline="0">
                <a:solidFill>
                  <a:srgbClr val="808080"/>
                </a:solidFill>
                <a:latin typeface="+mn-lt"/>
                <a:ea typeface="+mn-ea"/>
              </a:rPr>
              <a:t>Last Modified 9/1/2021 9:10 AM Arab Standard Time</a:t>
            </a:r>
            <a:endParaRPr lang="en-US" sz="163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386560" y="4527186"/>
            <a:ext cx="1477969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Printed 29/12/2019 07:18 Arab Standard Time</a:t>
            </a:r>
            <a:endParaRPr lang="en-US" sz="163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3258" y="240563"/>
            <a:ext cx="11725485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33258" y="9525"/>
            <a:ext cx="66390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cap="all" baseline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3258" y="594711"/>
            <a:ext cx="1172548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233257" y="6101354"/>
            <a:ext cx="1172548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95250" indent="-95250">
              <a:defRPr/>
            </a:pPr>
            <a:r>
              <a:rPr lang="en-US" sz="1000" baseline="0">
                <a:solidFill>
                  <a:schemeClr val="tx1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3300307" y="6583199"/>
            <a:ext cx="829161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85775" indent="-485775" defTabSz="913526">
              <a:tabLst>
                <a:tab pos="643032" algn="l"/>
              </a:tabLst>
            </a:pPr>
            <a:r>
              <a:rPr lang="en-US" sz="1000" baseline="0">
                <a:solidFill>
                  <a:schemeClr val="tx1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2578998"/>
            <a:ext cx="5853024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6" y="1993683"/>
            <a:ext cx="5853024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11255480" y="305675"/>
            <a:ext cx="703263" cy="996951"/>
            <a:chOff x="4936" y="176"/>
            <a:chExt cx="443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10947505" y="305675"/>
            <a:ext cx="1011238" cy="730251"/>
            <a:chOff x="4750" y="176"/>
            <a:chExt cx="637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auto">
          <a:xfrm>
            <a:off x="11188906" y="305675"/>
            <a:ext cx="769837" cy="1306516"/>
            <a:chOff x="7875175" y="286625"/>
            <a:chExt cx="769837" cy="1306516"/>
          </a:xfrm>
        </p:grpSpPr>
        <p:grpSp>
          <p:nvGrpSpPr>
            <p:cNvPr id="80" name="MoonLegend2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98" name="Oval 4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9" name="Arc 42"/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1" name="MoonLegend4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96" name="Oval 47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7" name="Arc 48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2" name="MoonLegend5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94" name="Oval 50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5" name="Oval 51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83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4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5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6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7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grpSp>
          <p:nvGrpSpPr>
            <p:cNvPr id="88" name="MoonLegend3"/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2" name="Oval 47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3" name="Arc 48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9" name="MoonLegend1"/>
            <p:cNvGrpSpPr>
              <a:grpSpLocks noChangeAspect="1"/>
            </p:cNvGrpSpPr>
            <p:nvPr userDrawn="1">
              <p:custDataLst>
                <p:tags r:id="rId22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0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1" name="Arc 42" hidden="1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</p:grpSp>
      <p:grpSp>
        <p:nvGrpSpPr>
          <p:cNvPr id="100" name="Sticker" hidden="1"/>
          <p:cNvGrpSpPr/>
          <p:nvPr/>
        </p:nvGrpSpPr>
        <p:grpSpPr bwMode="auto">
          <a:xfrm>
            <a:off x="11074078" y="305675"/>
            <a:ext cx="884665" cy="212366"/>
            <a:chOff x="7856110" y="285750"/>
            <a:chExt cx="884665" cy="212366"/>
          </a:xfrm>
        </p:grpSpPr>
        <p:sp>
          <p:nvSpPr>
            <p:cNvPr id="101" name="StickerRectangle"/>
            <p:cNvSpPr>
              <a:spLocks noChangeArrowheads="1"/>
            </p:cNvSpPr>
            <p:nvPr/>
          </p:nvSpPr>
          <p:spPr bwMode="auto">
            <a:xfrm>
              <a:off x="7856110" y="285750"/>
              <a:ext cx="88466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2" name="AutoShape 31"/>
            <p:cNvCxnSpPr>
              <a:cxnSpLocks noChangeShapeType="1"/>
              <a:stCxn id="101" idx="2"/>
              <a:endCxn id="101" idx="4"/>
            </p:cNvCxnSpPr>
            <p:nvPr/>
          </p:nvCxnSpPr>
          <p:spPr bwMode="auto">
            <a:xfrm>
              <a:off x="785611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3" name="AutoShape 32"/>
            <p:cNvCxnSpPr>
              <a:cxnSpLocks noChangeShapeType="1"/>
              <a:stCxn id="101" idx="4"/>
              <a:endCxn id="101" idx="6"/>
            </p:cNvCxnSpPr>
            <p:nvPr/>
          </p:nvCxnSpPr>
          <p:spPr bwMode="auto">
            <a:xfrm>
              <a:off x="7856110" y="498116"/>
              <a:ext cx="88466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274E10C6-72CA-67A4-6623-4DFF02EB7E48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63500" y="63500"/>
            <a:ext cx="3783013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assified as Public and Information can be shared with anyone needful of the Information.</a:t>
            </a:r>
          </a:p>
        </p:txBody>
      </p:sp>
    </p:spTree>
    <p:extLst>
      <p:ext uri="{BB962C8B-B14F-4D97-AF65-F5344CB8AC3E}">
        <p14:creationId xmlns:p14="http://schemas.microsoft.com/office/powerpoint/2010/main" val="183268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60" r:id="rId10"/>
    <p:sldLayoutId id="2147483761" r:id="rId11"/>
    <p:sldLayoutId id="2147483762" r:id="rId12"/>
    <p:sldLayoutId id="2147483763" r:id="rId13"/>
    <p:sldLayoutId id="2147483775" r:id="rId14"/>
  </p:sldLayoutIdLst>
  <p:hf sldNum="0"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2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024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2648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28016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263130396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1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200" b="0" i="0" baseline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9" name="Picture 108"/>
          <p:cNvPicPr>
            <a:picLocks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233258" y="6468512"/>
            <a:ext cx="2889060" cy="26923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5" name="Straight Connector 104"/>
          <p:cNvCxnSpPr/>
          <p:nvPr/>
        </p:nvCxnSpPr>
        <p:spPr bwMode="ltGray">
          <a:xfrm flipV="1">
            <a:off x="233263" y="6310160"/>
            <a:ext cx="11725480" cy="17939"/>
          </a:xfrm>
          <a:prstGeom prst="line">
            <a:avLst/>
          </a:prstGeom>
          <a:noFill/>
          <a:ln w="6350" cap="flat" cmpd="sng" algn="ctr">
            <a:solidFill>
              <a:srgbClr val="A5A5A5"/>
            </a:solidFill>
            <a:prstDash val="solid"/>
            <a:miter lim="800000"/>
          </a:ln>
          <a:effectLst/>
        </p:spPr>
      </p:cxnSp>
      <p:sp>
        <p:nvSpPr>
          <p:cNvPr id="106" name="Rectangle 105"/>
          <p:cNvSpPr/>
          <p:nvPr/>
        </p:nvSpPr>
        <p:spPr bwMode="ltGray">
          <a:xfrm>
            <a:off x="10650379" y="6310156"/>
            <a:ext cx="1308360" cy="54688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7" name="Rectangle 106"/>
          <p:cNvSpPr/>
          <p:nvPr/>
        </p:nvSpPr>
        <p:spPr bwMode="ltGray">
          <a:xfrm>
            <a:off x="233258" y="6319130"/>
            <a:ext cx="2960044" cy="45719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4" name="Slide Number"/>
          <p:cNvSpPr txBox="1">
            <a:spLocks/>
          </p:cNvSpPr>
          <p:nvPr/>
        </p:nvSpPr>
        <p:spPr bwMode="auto">
          <a:xfrm>
            <a:off x="11808061" y="6583245"/>
            <a:ext cx="150682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1000" baseline="0" smtClean="0">
                <a:solidFill>
                  <a:schemeClr val="tx1"/>
                </a:solidFill>
                <a:latin typeface="+mn-lt"/>
              </a:rPr>
              <a:pPr algn="r"/>
              <a:t>‹#›</a:t>
            </a:fld>
            <a:endParaRPr lang="en-US" sz="1000" baseline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1280762" y="2309206"/>
            <a:ext cx="1689565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aseline="0">
                <a:solidFill>
                  <a:srgbClr val="808080"/>
                </a:solidFill>
                <a:latin typeface="+mn-lt"/>
                <a:ea typeface="+mn-ea"/>
              </a:rPr>
              <a:t>Last Modified 9/1/2021 9:10 AM Arab Standard Time</a:t>
            </a:r>
            <a:endParaRPr lang="en-US" sz="163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386560" y="4527186"/>
            <a:ext cx="1477969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Printed 29/12/2019 07:18 Arab Standard Time</a:t>
            </a:r>
            <a:endParaRPr lang="en-US" sz="163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3258" y="240563"/>
            <a:ext cx="11725485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33258" y="9525"/>
            <a:ext cx="66390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cap="all" baseline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3258" y="594711"/>
            <a:ext cx="1172548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233257" y="6101354"/>
            <a:ext cx="1172548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95250" indent="-95250">
              <a:defRPr/>
            </a:pPr>
            <a:r>
              <a:rPr lang="en-US" sz="1000" baseline="0">
                <a:solidFill>
                  <a:schemeClr val="tx1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3300307" y="6583199"/>
            <a:ext cx="829161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85775" indent="-485775" defTabSz="913526">
              <a:tabLst>
                <a:tab pos="643032" algn="l"/>
              </a:tabLst>
            </a:pPr>
            <a:r>
              <a:rPr lang="en-US" sz="1000" baseline="0">
                <a:solidFill>
                  <a:schemeClr val="tx1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2578998"/>
            <a:ext cx="5853024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6" y="1993683"/>
            <a:ext cx="5853024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11255480" y="305675"/>
            <a:ext cx="703263" cy="996951"/>
            <a:chOff x="4936" y="176"/>
            <a:chExt cx="443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10947505" y="305675"/>
            <a:ext cx="1011238" cy="730251"/>
            <a:chOff x="4750" y="176"/>
            <a:chExt cx="637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auto">
          <a:xfrm>
            <a:off x="11188906" y="305675"/>
            <a:ext cx="769837" cy="1306516"/>
            <a:chOff x="7875175" y="286625"/>
            <a:chExt cx="769837" cy="1306516"/>
          </a:xfrm>
        </p:grpSpPr>
        <p:grpSp>
          <p:nvGrpSpPr>
            <p:cNvPr id="80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98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9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1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96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7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2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94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5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83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4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5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6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7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grpSp>
          <p:nvGrpSpPr>
            <p:cNvPr id="88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2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3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9" name="MoonLegend1"/>
            <p:cNvGrpSpPr>
              <a:grpSpLocks noChangeAspect="1"/>
            </p:cNvGrpSpPr>
            <p:nvPr userDrawn="1">
              <p:custDataLst>
                <p:tags r:id="rId16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0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1" name="Arc 42" hidden="1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</p:grpSp>
      <p:grpSp>
        <p:nvGrpSpPr>
          <p:cNvPr id="100" name="Sticker" hidden="1"/>
          <p:cNvGrpSpPr/>
          <p:nvPr/>
        </p:nvGrpSpPr>
        <p:grpSpPr bwMode="auto">
          <a:xfrm>
            <a:off x="11074078" y="305675"/>
            <a:ext cx="884665" cy="212366"/>
            <a:chOff x="7856110" y="285750"/>
            <a:chExt cx="884665" cy="212366"/>
          </a:xfrm>
        </p:grpSpPr>
        <p:sp>
          <p:nvSpPr>
            <p:cNvPr id="101" name="StickerRectangle"/>
            <p:cNvSpPr>
              <a:spLocks noChangeArrowheads="1"/>
            </p:cNvSpPr>
            <p:nvPr/>
          </p:nvSpPr>
          <p:spPr bwMode="auto">
            <a:xfrm>
              <a:off x="7856110" y="285750"/>
              <a:ext cx="88466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2" name="AutoShape 31"/>
            <p:cNvCxnSpPr>
              <a:cxnSpLocks noChangeShapeType="1"/>
              <a:stCxn id="101" idx="2"/>
              <a:endCxn id="101" idx="4"/>
            </p:cNvCxnSpPr>
            <p:nvPr/>
          </p:nvCxnSpPr>
          <p:spPr bwMode="auto">
            <a:xfrm>
              <a:off x="785611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3" name="AutoShape 32"/>
            <p:cNvCxnSpPr>
              <a:cxnSpLocks noChangeShapeType="1"/>
              <a:stCxn id="101" idx="4"/>
              <a:endCxn id="101" idx="6"/>
            </p:cNvCxnSpPr>
            <p:nvPr/>
          </p:nvCxnSpPr>
          <p:spPr bwMode="auto">
            <a:xfrm>
              <a:off x="7856110" y="498116"/>
              <a:ext cx="88466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39D1712C-AA53-C293-3E41-2B1F311FD0F8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63500" y="63500"/>
            <a:ext cx="3783013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assified as Public and Information can be shared with anyone needful of the Information.</a:t>
            </a:r>
          </a:p>
        </p:txBody>
      </p:sp>
    </p:spTree>
    <p:extLst>
      <p:ext uri="{BB962C8B-B14F-4D97-AF65-F5344CB8AC3E}">
        <p14:creationId xmlns:p14="http://schemas.microsoft.com/office/powerpoint/2010/main" val="1032401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64" r:id="rId5"/>
    <p:sldLayoutId id="2147483765" r:id="rId6"/>
    <p:sldLayoutId id="2147483766" r:id="rId7"/>
    <p:sldLayoutId id="2147483767" r:id="rId8"/>
  </p:sldLayoutIdLst>
  <p:hf sldNum="0"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2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024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2648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28016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581163586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200" b="0" i="0" baseline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9" name="Picture 108"/>
          <p:cNvPicPr>
            <a:picLocks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233258" y="6468512"/>
            <a:ext cx="2889060" cy="26923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5" name="Straight Connector 104"/>
          <p:cNvCxnSpPr/>
          <p:nvPr/>
        </p:nvCxnSpPr>
        <p:spPr bwMode="ltGray">
          <a:xfrm flipV="1">
            <a:off x="233263" y="6310160"/>
            <a:ext cx="11725480" cy="17939"/>
          </a:xfrm>
          <a:prstGeom prst="line">
            <a:avLst/>
          </a:prstGeom>
          <a:noFill/>
          <a:ln w="6350" cap="flat" cmpd="sng" algn="ctr">
            <a:solidFill>
              <a:srgbClr val="A5A5A5"/>
            </a:solidFill>
            <a:prstDash val="solid"/>
            <a:miter lim="800000"/>
          </a:ln>
          <a:effectLst/>
        </p:spPr>
      </p:cxnSp>
      <p:sp>
        <p:nvSpPr>
          <p:cNvPr id="106" name="Rectangle 105"/>
          <p:cNvSpPr/>
          <p:nvPr/>
        </p:nvSpPr>
        <p:spPr bwMode="ltGray">
          <a:xfrm>
            <a:off x="10650379" y="6310156"/>
            <a:ext cx="1308360" cy="54688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7" name="Rectangle 106"/>
          <p:cNvSpPr/>
          <p:nvPr/>
        </p:nvSpPr>
        <p:spPr bwMode="ltGray">
          <a:xfrm>
            <a:off x="233258" y="6319130"/>
            <a:ext cx="2960044" cy="45719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4" name="Slide Number"/>
          <p:cNvSpPr txBox="1">
            <a:spLocks/>
          </p:cNvSpPr>
          <p:nvPr/>
        </p:nvSpPr>
        <p:spPr bwMode="auto">
          <a:xfrm>
            <a:off x="11808061" y="6583245"/>
            <a:ext cx="150682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1000" baseline="0" smtClean="0">
                <a:solidFill>
                  <a:schemeClr val="tx1"/>
                </a:solidFill>
                <a:latin typeface="+mn-lt"/>
              </a:rPr>
              <a:pPr algn="r"/>
              <a:t>‹#›</a:t>
            </a:fld>
            <a:endParaRPr lang="en-US" sz="1000" baseline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1280762" y="2309206"/>
            <a:ext cx="1689565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aseline="0">
                <a:solidFill>
                  <a:srgbClr val="808080"/>
                </a:solidFill>
                <a:latin typeface="+mn-lt"/>
                <a:ea typeface="+mn-ea"/>
              </a:rPr>
              <a:t>Last Modified 9/1/2021 9:10 AM Arab Standard Time</a:t>
            </a:r>
            <a:endParaRPr lang="en-US" sz="163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386560" y="4527186"/>
            <a:ext cx="1477969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Printed 29/12/2019 07:18 Arab Standard Time</a:t>
            </a:r>
            <a:endParaRPr lang="en-US" sz="163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3258" y="240563"/>
            <a:ext cx="11725485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33258" y="9525"/>
            <a:ext cx="66390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cap="all" baseline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3258" y="594711"/>
            <a:ext cx="1172548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233257" y="6101354"/>
            <a:ext cx="1172548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95250" indent="-95250">
              <a:defRPr/>
            </a:pPr>
            <a:r>
              <a:rPr lang="en-US" sz="1000" baseline="0">
                <a:solidFill>
                  <a:schemeClr val="tx1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3300307" y="6583199"/>
            <a:ext cx="829161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85775" indent="-485775" defTabSz="913526">
              <a:tabLst>
                <a:tab pos="643032" algn="l"/>
              </a:tabLst>
            </a:pPr>
            <a:r>
              <a:rPr lang="en-US" sz="1000" baseline="0">
                <a:solidFill>
                  <a:schemeClr val="tx1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2578998"/>
            <a:ext cx="5853024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6" y="1993683"/>
            <a:ext cx="5853024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11255480" y="305675"/>
            <a:ext cx="703263" cy="996951"/>
            <a:chOff x="4936" y="176"/>
            <a:chExt cx="443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10947505" y="305675"/>
            <a:ext cx="1011238" cy="730251"/>
            <a:chOff x="4750" y="176"/>
            <a:chExt cx="637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auto">
          <a:xfrm>
            <a:off x="11188906" y="305675"/>
            <a:ext cx="769837" cy="1306516"/>
            <a:chOff x="7875175" y="286625"/>
            <a:chExt cx="769837" cy="1306516"/>
          </a:xfrm>
        </p:grpSpPr>
        <p:grpSp>
          <p:nvGrpSpPr>
            <p:cNvPr id="80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98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9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1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96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7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2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94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5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83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4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5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6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7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grpSp>
          <p:nvGrpSpPr>
            <p:cNvPr id="88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2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3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9" name="MoonLegend1"/>
            <p:cNvGrpSpPr>
              <a:grpSpLocks noChangeAspect="1"/>
            </p:cNvGrpSpPr>
            <p:nvPr userDrawn="1">
              <p:custDataLst>
                <p:tags r:id="rId12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0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1" name="Arc 42" hidden="1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</p:grpSp>
      <p:grpSp>
        <p:nvGrpSpPr>
          <p:cNvPr id="100" name="Sticker" hidden="1"/>
          <p:cNvGrpSpPr/>
          <p:nvPr/>
        </p:nvGrpSpPr>
        <p:grpSpPr bwMode="auto">
          <a:xfrm>
            <a:off x="11074078" y="305675"/>
            <a:ext cx="884665" cy="212366"/>
            <a:chOff x="7856110" y="285750"/>
            <a:chExt cx="884665" cy="212366"/>
          </a:xfrm>
        </p:grpSpPr>
        <p:sp>
          <p:nvSpPr>
            <p:cNvPr id="101" name="StickerRectangle"/>
            <p:cNvSpPr>
              <a:spLocks noChangeArrowheads="1"/>
            </p:cNvSpPr>
            <p:nvPr/>
          </p:nvSpPr>
          <p:spPr bwMode="auto">
            <a:xfrm>
              <a:off x="7856110" y="285750"/>
              <a:ext cx="88466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2" name="AutoShape 31"/>
            <p:cNvCxnSpPr>
              <a:cxnSpLocks noChangeShapeType="1"/>
              <a:stCxn id="101" idx="2"/>
              <a:endCxn id="101" idx="4"/>
            </p:cNvCxnSpPr>
            <p:nvPr/>
          </p:nvCxnSpPr>
          <p:spPr bwMode="auto">
            <a:xfrm>
              <a:off x="785611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3" name="AutoShape 32"/>
            <p:cNvCxnSpPr>
              <a:cxnSpLocks noChangeShapeType="1"/>
              <a:stCxn id="101" idx="4"/>
              <a:endCxn id="101" idx="6"/>
            </p:cNvCxnSpPr>
            <p:nvPr/>
          </p:nvCxnSpPr>
          <p:spPr bwMode="auto">
            <a:xfrm>
              <a:off x="7856110" y="498116"/>
              <a:ext cx="88466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02120569-B7E7-00D1-C380-F0108F00D698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63500" y="63500"/>
            <a:ext cx="3783013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assified as Public and Information can be shared with anyone needful of the Information.</a:t>
            </a:r>
          </a:p>
        </p:txBody>
      </p:sp>
    </p:spTree>
    <p:extLst>
      <p:ext uri="{BB962C8B-B14F-4D97-AF65-F5344CB8AC3E}">
        <p14:creationId xmlns:p14="http://schemas.microsoft.com/office/powerpoint/2010/main" val="23407370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</p:sldLayoutIdLst>
  <p:hf sldNum="0"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2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024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2648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28016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058836739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hape 8">
            <a:extLst>
              <a:ext uri="{FF2B5EF4-FFF2-40B4-BE49-F238E27FC236}">
                <a16:creationId xmlns:a16="http://schemas.microsoft.com/office/drawing/2014/main" id="{EC0578FA-3510-4363-8FE4-202845F58166}"/>
              </a:ext>
            </a:extLst>
          </p:cNvPr>
          <p:cNvSpPr txBox="1">
            <a:spLocks/>
          </p:cNvSpPr>
          <p:nvPr/>
        </p:nvSpPr>
        <p:spPr>
          <a:xfrm>
            <a:off x="11585691" y="6507671"/>
            <a:ext cx="153888" cy="15068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Univers for KPMG"/>
                <a:ea typeface="Univers for KPMG"/>
                <a:cs typeface="Univers for KPMG"/>
                <a:sym typeface="Univers for KPMG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979" smtClean="0">
                <a:solidFill>
                  <a:srgbClr val="003087"/>
                </a:solidFill>
                <a:latin typeface="Arial" panose="020B0604020202020204" pitchFamily="34" charset="0"/>
                <a:ea typeface="Univers for KPMG"/>
                <a:cs typeface="Arial" panose="020B0604020202020204" pitchFamily="34" charset="0"/>
              </a:rPr>
              <a:pPr algn="r"/>
              <a:t>‹#›</a:t>
            </a:fld>
            <a:endParaRPr lang="en-US" sz="979">
              <a:solidFill>
                <a:srgbClr val="003087"/>
              </a:solidFill>
              <a:latin typeface="Arial" panose="020B0604020202020204" pitchFamily="34" charset="0"/>
              <a:ea typeface="Univers for KPMG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04536DA-8F10-D8CE-3D0B-BA130B875056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63500" y="63500"/>
            <a:ext cx="3783013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assified as Public and Information can be shared with anyone needful of the Information.</a:t>
            </a:r>
          </a:p>
        </p:txBody>
      </p:sp>
    </p:spTree>
    <p:extLst>
      <p:ext uri="{BB962C8B-B14F-4D97-AF65-F5344CB8AC3E}">
        <p14:creationId xmlns:p14="http://schemas.microsoft.com/office/powerpoint/2010/main" val="3148967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68" r:id="rId3"/>
    <p:sldLayoutId id="2147483769" r:id="rId4"/>
    <p:sldLayoutId id="2147483770" r:id="rId5"/>
    <p:sldLayoutId id="2147483771" r:id="rId6"/>
    <p:sldLayoutId id="2147483772" r:id="rId7"/>
  </p:sldLayoutIdLst>
  <p:hf sldNum="0" hdr="0" ftr="0" dt="0"/>
  <p:txStyles>
    <p:titleStyle>
      <a:lvl1pPr algn="l" eaLnBrk="1" hangingPunct="1">
        <a:lnSpc>
          <a:spcPct val="100000"/>
        </a:lnSpc>
        <a:defRPr sz="5287" b="0" i="0">
          <a:solidFill>
            <a:srgbClr val="00338D"/>
          </a:solidFill>
          <a:latin typeface="KPMG Extralight"/>
          <a:cs typeface="KPMG Extralight"/>
        </a:defRPr>
      </a:lvl1pPr>
    </p:titleStyle>
    <p:bodyStyle>
      <a:lvl1pPr eaLnBrk="1" hangingPunct="1">
        <a:spcAft>
          <a:spcPts val="637"/>
        </a:spcAft>
        <a:defRPr sz="1469" b="1" i="0">
          <a:solidFill>
            <a:srgbClr val="003087"/>
          </a:solidFill>
          <a:latin typeface="Univers for KPMG" panose="020B0603020202020204" pitchFamily="34" charset="0"/>
          <a:cs typeface="Univers for KPMG" panose="020B0603020202020204" pitchFamily="34" charset="0"/>
        </a:defRPr>
      </a:lvl1pPr>
      <a:lvl2pPr marL="0" indent="0" eaLnBrk="1" hangingPunct="1">
        <a:spcAft>
          <a:spcPts val="588"/>
        </a:spcAft>
        <a:buFont typeface="Univers for KPMG"/>
        <a:buNone/>
        <a:defRPr sz="1469" b="0" i="0">
          <a:solidFill>
            <a:srgbClr val="003087"/>
          </a:solidFill>
          <a:latin typeface="Univers for KPMG Light" panose="020B0403020202020204" pitchFamily="34" charset="0"/>
          <a:cs typeface="Univers for KPMG" panose="020B0603020202020204" pitchFamily="34" charset="0"/>
        </a:defRPr>
      </a:lvl2pPr>
      <a:lvl3pPr marL="301551" indent="-277551" algn="l" eaLnBrk="1" hangingPunct="1">
        <a:spcAft>
          <a:spcPts val="588"/>
        </a:spcAft>
        <a:buFont typeface="Univers for KPMG Light" panose="020B0403020202020204" pitchFamily="34" charset="0"/>
        <a:buChar char="—"/>
        <a:defRPr sz="1469" b="0" i="0">
          <a:solidFill>
            <a:srgbClr val="003087"/>
          </a:solidFill>
          <a:latin typeface="Univers for KPMG Light" panose="020B0403020202020204" pitchFamily="34" charset="0"/>
          <a:cs typeface="Univers for KPMG" panose="020B0603020202020204" pitchFamily="34" charset="0"/>
        </a:defRPr>
      </a:lvl3pPr>
      <a:lvl4pPr marL="610874" indent="-223832" algn="l" eaLnBrk="1" hangingPunct="1">
        <a:spcAft>
          <a:spcPts val="588"/>
        </a:spcAft>
        <a:buFont typeface="Univers for KPMG Light" panose="020B0403020202020204" pitchFamily="34" charset="0"/>
        <a:buChar char="-"/>
        <a:defRPr sz="1469" b="0" i="0" baseline="0">
          <a:solidFill>
            <a:srgbClr val="003087"/>
          </a:solidFill>
          <a:latin typeface="Univers for KPMG Light" panose="020B0403020202020204" pitchFamily="34" charset="0"/>
          <a:cs typeface="Univers for KPMG" panose="020B0603020202020204" pitchFamily="34" charset="0"/>
        </a:defRPr>
      </a:lvl4pPr>
      <a:lvl5pPr marL="962165" indent="-277551" algn="l" eaLnBrk="1" hangingPunct="1">
        <a:spcAft>
          <a:spcPts val="588"/>
        </a:spcAft>
        <a:buFont typeface="Univers for KPMG Light" panose="020B0403020202020204" pitchFamily="34" charset="0"/>
        <a:buChar char="—"/>
        <a:defRPr lang="en-US" sz="1469" b="0" i="0" dirty="0" smtClean="0">
          <a:solidFill>
            <a:srgbClr val="003087"/>
          </a:solidFill>
          <a:latin typeface="Univers for KPMG Light" panose="020B0403020202020204" pitchFamily="34" charset="0"/>
          <a:cs typeface="Univers for KPMG" panose="020B0603020202020204" pitchFamily="34" charset="0"/>
        </a:defRPr>
      </a:lvl5pPr>
      <a:lvl6pPr marL="1231074" indent="-223832" algn="l" eaLnBrk="1" hangingPunct="1">
        <a:spcAft>
          <a:spcPts val="588"/>
        </a:spcAft>
        <a:buFont typeface="Univers for KPMG Light" panose="020B0403020202020204" pitchFamily="34" charset="0"/>
        <a:buChar char="-"/>
        <a:defRPr lang="en-US" sz="1469" b="0" i="0" baseline="0" dirty="0" smtClean="0">
          <a:solidFill>
            <a:srgbClr val="003087"/>
          </a:solidFill>
          <a:latin typeface="Univers for KPMG Light" panose="020B0403020202020204" pitchFamily="34" charset="0"/>
        </a:defRPr>
      </a:lvl6pPr>
      <a:lvl7pPr marL="1585474" indent="-277551" algn="l" eaLnBrk="1" hangingPunct="1">
        <a:spcAft>
          <a:spcPts val="588"/>
        </a:spcAft>
        <a:buFont typeface="Univers for KPMG Light" panose="020B0403020202020204" pitchFamily="34" charset="0"/>
        <a:buChar char="—"/>
        <a:defRPr lang="en-US" sz="1469" b="0" i="0" dirty="0" smtClean="0">
          <a:solidFill>
            <a:srgbClr val="003087"/>
          </a:solidFill>
          <a:latin typeface="Univers for KPMG Light" panose="020B0403020202020204" pitchFamily="34" charset="0"/>
        </a:defRPr>
      </a:lvl7pPr>
      <a:lvl8pPr marL="1846611" indent="-223832" algn="l" eaLnBrk="1" hangingPunct="1">
        <a:spcAft>
          <a:spcPts val="588"/>
        </a:spcAft>
        <a:buFont typeface="Univers for KPMG Light" panose="020B0403020202020204" pitchFamily="34" charset="0"/>
        <a:buChar char="-"/>
        <a:defRPr lang="en-US" sz="1469" b="0" i="0" baseline="0" dirty="0" smtClean="0">
          <a:solidFill>
            <a:srgbClr val="003087"/>
          </a:solidFill>
          <a:latin typeface="Univers for KPMG Light" panose="020B0403020202020204" pitchFamily="34" charset="0"/>
        </a:defRPr>
      </a:lvl8pPr>
    </p:bodyStyle>
    <p:otherStyle/>
  </p:txStyles>
  <p:extLst>
    <p:ext uri="{27BBF7A9-308A-43DC-89C8-2F10F3537804}">
      <p15:sldGuideLst xmlns:p15="http://schemas.microsoft.com/office/powerpoint/2012/main">
        <p15:guide id="1" orient="horz" pos="720">
          <p15:clr>
            <a:srgbClr val="F26B43"/>
          </p15:clr>
        </p15:guide>
        <p15:guide id="2" pos="572">
          <p15:clr>
            <a:srgbClr val="F26B43"/>
          </p15:clr>
        </p15:guide>
        <p15:guide id="3" pos="6240">
          <p15:clr>
            <a:srgbClr val="F26B43"/>
          </p15:clr>
        </p15:guide>
        <p15:guide id="4" orient="horz" pos="432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4272">
          <p15:clr>
            <a:srgbClr val="F26B43"/>
          </p15:clr>
        </p15:guide>
        <p15:guide id="7" pos="3328">
          <p15:clr>
            <a:srgbClr val="F26B43"/>
          </p15:clr>
        </p15:guide>
        <p15:guide id="8" pos="3484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373657"/>
              </p:ext>
            </p:extLst>
          </p:nvPr>
        </p:nvGraphicFramePr>
        <p:xfrm>
          <a:off x="2" y="0"/>
          <a:ext cx="215978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215978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2" y="0"/>
            <a:ext cx="215978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750" b="0" i="0" baseline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9" name="Picture 108"/>
          <p:cNvPicPr>
            <a:picLocks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233257" y="6468512"/>
            <a:ext cx="2889060" cy="26923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5" name="Straight Connector 104"/>
          <p:cNvCxnSpPr/>
          <p:nvPr/>
        </p:nvCxnSpPr>
        <p:spPr bwMode="ltGray">
          <a:xfrm flipV="1">
            <a:off x="469537" y="943038"/>
            <a:ext cx="11469712" cy="17939"/>
          </a:xfrm>
          <a:prstGeom prst="line">
            <a:avLst/>
          </a:prstGeom>
          <a:noFill/>
          <a:ln w="6350" cap="flat" cmpd="sng" algn="ctr">
            <a:solidFill>
              <a:srgbClr val="A5A5A5"/>
            </a:solidFill>
            <a:prstDash val="solid"/>
            <a:miter lim="800000"/>
          </a:ln>
          <a:effectLst/>
        </p:spPr>
      </p:cxnSp>
      <p:sp>
        <p:nvSpPr>
          <p:cNvPr id="114" name="Slide Number"/>
          <p:cNvSpPr txBox="1">
            <a:spLocks/>
          </p:cNvSpPr>
          <p:nvPr/>
        </p:nvSpPr>
        <p:spPr bwMode="auto">
          <a:xfrm>
            <a:off x="11836916" y="6598956"/>
            <a:ext cx="121828" cy="12246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796" baseline="0" smtClean="0">
                <a:solidFill>
                  <a:schemeClr val="tx1"/>
                </a:solidFill>
                <a:latin typeface="+mn-lt"/>
              </a:rPr>
              <a:pPr algn="r"/>
              <a:t>‹#›</a:t>
            </a:fld>
            <a:endParaRPr lang="en-US" sz="796" baseline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1450681" y="2318824"/>
            <a:ext cx="1349728" cy="749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87" baseline="0">
                <a:solidFill>
                  <a:srgbClr val="808080"/>
                </a:solidFill>
                <a:latin typeface="+mn-lt"/>
                <a:ea typeface="+mn-ea"/>
              </a:rPr>
              <a:t>Last Modified 9/1/2021 9:10 AM Arab Standard Time</a:t>
            </a:r>
            <a:endParaRPr lang="en-US" sz="1298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534837" y="4536804"/>
            <a:ext cx="1181414" cy="749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487" baseline="0">
                <a:solidFill>
                  <a:srgbClr val="808080"/>
                </a:solidFill>
                <a:latin typeface="+mn-lt"/>
                <a:ea typeface="+mn-ea"/>
              </a:rPr>
              <a:t>Printed 29/12/2019 07:18 Arab Standard Time</a:t>
            </a:r>
            <a:endParaRPr lang="en-US" sz="1298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65414" y="300917"/>
            <a:ext cx="11469712" cy="5706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33259" y="9525"/>
            <a:ext cx="527388" cy="1714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114" cap="all" baseline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3259" y="594712"/>
            <a:ext cx="11725485" cy="19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73" baseline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233258" y="6132775"/>
            <a:ext cx="11725485" cy="122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75782" indent="-75782">
              <a:defRPr/>
            </a:pPr>
            <a:r>
              <a:rPr lang="en-US" sz="796" baseline="0">
                <a:solidFill>
                  <a:schemeClr val="tx1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3300308" y="6614619"/>
            <a:ext cx="8291616" cy="122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86490" indent="-386490" defTabSz="726814">
              <a:tabLst>
                <a:tab pos="511605" algn="l"/>
              </a:tabLst>
            </a:pPr>
            <a:r>
              <a:rPr lang="en-US" sz="796" baseline="0">
                <a:solidFill>
                  <a:schemeClr val="tx1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6" y="2094109"/>
            <a:ext cx="5853024" cy="409795"/>
            <a:chOff x="915" y="777"/>
            <a:chExt cx="2686" cy="25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77"/>
              <a:ext cx="2686" cy="2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273" b="1" baseline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273" baseline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11255489" y="305676"/>
            <a:ext cx="612776" cy="984251"/>
            <a:chOff x="4936" y="176"/>
            <a:chExt cx="386" cy="620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26" cy="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65">
                <a:latin typeface="+mn-lt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26" cy="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65">
                <a:latin typeface="+mn-lt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26" cy="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65">
                <a:latin typeface="+mn-lt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26" cy="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65">
                <a:latin typeface="+mn-lt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10947511" y="305675"/>
            <a:ext cx="920751" cy="692152"/>
            <a:chOff x="4750" y="176"/>
            <a:chExt cx="580" cy="436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65">
                <a:latin typeface="+mn-lt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65">
                <a:latin typeface="+mn-lt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65">
                <a:latin typeface="+mn-lt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26" cy="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26" cy="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26" cy="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auto">
          <a:xfrm>
            <a:off x="11188903" y="305675"/>
            <a:ext cx="679748" cy="1306516"/>
            <a:chOff x="7875175" y="286625"/>
            <a:chExt cx="679748" cy="1306516"/>
          </a:xfrm>
        </p:grpSpPr>
        <p:grpSp>
          <p:nvGrpSpPr>
            <p:cNvPr id="80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98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  <p:sp>
            <p:nvSpPr>
              <p:cNvPr id="99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</p:grpSp>
        <p:grpSp>
          <p:nvGrpSpPr>
            <p:cNvPr id="81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96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  <p:sp>
            <p:nvSpPr>
              <p:cNvPr id="97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</p:grpSp>
        <p:grpSp>
          <p:nvGrpSpPr>
            <p:cNvPr id="82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94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  <p:sp>
            <p:nvSpPr>
              <p:cNvPr id="95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</p:grpSp>
        <p:sp>
          <p:nvSpPr>
            <p:cNvPr id="83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359073" cy="1468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84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359073" cy="1468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85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359073" cy="1468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86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359073" cy="1468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87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359073" cy="1468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grpSp>
          <p:nvGrpSpPr>
            <p:cNvPr id="88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2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  <p:sp>
            <p:nvSpPr>
              <p:cNvPr id="93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</p:grpSp>
        <p:grpSp>
          <p:nvGrpSpPr>
            <p:cNvPr id="89" name="MoonLegend1"/>
            <p:cNvGrpSpPr>
              <a:grpSpLocks noChangeAspect="1"/>
            </p:cNvGrpSpPr>
            <p:nvPr userDrawn="1">
              <p:custDataLst>
                <p:tags r:id="rId13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0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  <p:sp>
            <p:nvSpPr>
              <p:cNvPr id="91" name="Arc 42" hidden="1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</p:grpSp>
      </p:grpSp>
      <p:grpSp>
        <p:nvGrpSpPr>
          <p:cNvPr id="100" name="Sticker" hidden="1"/>
          <p:cNvGrpSpPr/>
          <p:nvPr/>
        </p:nvGrpSpPr>
        <p:grpSpPr bwMode="auto">
          <a:xfrm>
            <a:off x="11252971" y="305674"/>
            <a:ext cx="705771" cy="174535"/>
            <a:chOff x="8035004" y="285750"/>
            <a:chExt cx="705771" cy="174536"/>
          </a:xfrm>
        </p:grpSpPr>
        <p:sp>
          <p:nvSpPr>
            <p:cNvPr id="101" name="StickerRectangle"/>
            <p:cNvSpPr>
              <a:spLocks noChangeArrowheads="1"/>
            </p:cNvSpPr>
            <p:nvPr/>
          </p:nvSpPr>
          <p:spPr bwMode="auto">
            <a:xfrm>
              <a:off x="8035004" y="285750"/>
              <a:ext cx="705771" cy="17453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712353">
                <a:buClr>
                  <a:schemeClr val="tx2"/>
                </a:buClr>
              </a:pPr>
              <a:r>
                <a:rPr lang="en-US" sz="954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2" name="AutoShape 31"/>
            <p:cNvCxnSpPr>
              <a:cxnSpLocks noChangeShapeType="1"/>
              <a:stCxn id="101" idx="2"/>
              <a:endCxn id="101" idx="4"/>
            </p:cNvCxnSpPr>
            <p:nvPr/>
          </p:nvCxnSpPr>
          <p:spPr bwMode="auto">
            <a:xfrm>
              <a:off x="8035004" y="285750"/>
              <a:ext cx="0" cy="17453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3" name="AutoShape 32"/>
            <p:cNvCxnSpPr>
              <a:cxnSpLocks noChangeShapeType="1"/>
              <a:stCxn id="101" idx="4"/>
              <a:endCxn id="101" idx="6"/>
            </p:cNvCxnSpPr>
            <p:nvPr/>
          </p:nvCxnSpPr>
          <p:spPr bwMode="auto">
            <a:xfrm>
              <a:off x="8035004" y="460286"/>
              <a:ext cx="70577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318E7382-BE90-FC8A-E2F9-F0A7452E72A2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63500" y="63500"/>
            <a:ext cx="3783013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assified as Public and Information can be shared with anyone needful of the Information.</a:t>
            </a:r>
          </a:p>
        </p:txBody>
      </p:sp>
    </p:spTree>
    <p:extLst>
      <p:ext uri="{BB962C8B-B14F-4D97-AF65-F5344CB8AC3E}">
        <p14:creationId xmlns:p14="http://schemas.microsoft.com/office/powerpoint/2010/main" val="10584164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</p:sldLayoutIdLst>
  <p:hf sldNum="0" hdr="0" ftr="0" dt="0"/>
  <p:txStyles>
    <p:titleStyle>
      <a:lvl1pPr algn="l" defTabSz="726814" rtl="0" eaLnBrk="1" fontAlgn="base" hangingPunct="1">
        <a:spcBef>
          <a:spcPct val="0"/>
        </a:spcBef>
        <a:spcAft>
          <a:spcPct val="0"/>
        </a:spcAft>
        <a:tabLst>
          <a:tab pos="219075" algn="l"/>
        </a:tabLst>
        <a:defRPr sz="2177" b="0" baseline="0">
          <a:solidFill>
            <a:schemeClr val="bg1">
              <a:lumMod val="50000"/>
            </a:schemeClr>
          </a:solidFill>
          <a:latin typeface="+mj-lt"/>
          <a:ea typeface="+mj-ea"/>
          <a:cs typeface="+mj-cs"/>
        </a:defRPr>
      </a:lvl1pPr>
      <a:lvl2pPr algn="l" defTabSz="726814" rtl="0" eaLnBrk="1" fontAlgn="base" hangingPunct="1">
        <a:spcBef>
          <a:spcPct val="0"/>
        </a:spcBef>
        <a:spcAft>
          <a:spcPct val="0"/>
        </a:spcAft>
        <a:defRPr sz="1543" b="1">
          <a:solidFill>
            <a:schemeClr val="tx2"/>
          </a:solidFill>
          <a:latin typeface="Arial" charset="0"/>
        </a:defRPr>
      </a:lvl2pPr>
      <a:lvl3pPr algn="l" defTabSz="726814" rtl="0" eaLnBrk="1" fontAlgn="base" hangingPunct="1">
        <a:spcBef>
          <a:spcPct val="0"/>
        </a:spcBef>
        <a:spcAft>
          <a:spcPct val="0"/>
        </a:spcAft>
        <a:defRPr sz="1543" b="1">
          <a:solidFill>
            <a:schemeClr val="tx2"/>
          </a:solidFill>
          <a:latin typeface="Arial" charset="0"/>
        </a:defRPr>
      </a:lvl3pPr>
      <a:lvl4pPr algn="l" defTabSz="726814" rtl="0" eaLnBrk="1" fontAlgn="base" hangingPunct="1">
        <a:spcBef>
          <a:spcPct val="0"/>
        </a:spcBef>
        <a:spcAft>
          <a:spcPct val="0"/>
        </a:spcAft>
        <a:defRPr sz="1543" b="1">
          <a:solidFill>
            <a:schemeClr val="tx2"/>
          </a:solidFill>
          <a:latin typeface="Arial" charset="0"/>
        </a:defRPr>
      </a:lvl4pPr>
      <a:lvl5pPr algn="l" defTabSz="726814" rtl="0" eaLnBrk="1" fontAlgn="base" hangingPunct="1">
        <a:spcBef>
          <a:spcPct val="0"/>
        </a:spcBef>
        <a:spcAft>
          <a:spcPct val="0"/>
        </a:spcAft>
        <a:defRPr sz="1543" b="1">
          <a:solidFill>
            <a:schemeClr val="tx2"/>
          </a:solidFill>
          <a:latin typeface="Arial" charset="0"/>
        </a:defRPr>
      </a:lvl5pPr>
      <a:lvl6pPr marL="371139" algn="l" defTabSz="726814" rtl="0" eaLnBrk="1" fontAlgn="base" hangingPunct="1">
        <a:spcBef>
          <a:spcPct val="0"/>
        </a:spcBef>
        <a:spcAft>
          <a:spcPct val="0"/>
        </a:spcAft>
        <a:defRPr sz="1543" b="1">
          <a:solidFill>
            <a:schemeClr val="tx2"/>
          </a:solidFill>
          <a:latin typeface="Arial" charset="0"/>
        </a:defRPr>
      </a:lvl6pPr>
      <a:lvl7pPr marL="742278" algn="l" defTabSz="726814" rtl="0" eaLnBrk="1" fontAlgn="base" hangingPunct="1">
        <a:spcBef>
          <a:spcPct val="0"/>
        </a:spcBef>
        <a:spcAft>
          <a:spcPct val="0"/>
        </a:spcAft>
        <a:defRPr sz="1543" b="1">
          <a:solidFill>
            <a:schemeClr val="tx2"/>
          </a:solidFill>
          <a:latin typeface="Arial" charset="0"/>
        </a:defRPr>
      </a:lvl7pPr>
      <a:lvl8pPr marL="1113417" algn="l" defTabSz="726814" rtl="0" eaLnBrk="1" fontAlgn="base" hangingPunct="1">
        <a:spcBef>
          <a:spcPct val="0"/>
        </a:spcBef>
        <a:spcAft>
          <a:spcPct val="0"/>
        </a:spcAft>
        <a:defRPr sz="1543" b="1">
          <a:solidFill>
            <a:schemeClr val="tx2"/>
          </a:solidFill>
          <a:latin typeface="Arial" charset="0"/>
        </a:defRPr>
      </a:lvl8pPr>
      <a:lvl9pPr marL="1484557" algn="l" defTabSz="726814" rtl="0" eaLnBrk="1" fontAlgn="base" hangingPunct="1">
        <a:spcBef>
          <a:spcPct val="0"/>
        </a:spcBef>
        <a:spcAft>
          <a:spcPct val="0"/>
        </a:spcAft>
        <a:defRPr sz="1543" b="1">
          <a:solidFill>
            <a:schemeClr val="tx2"/>
          </a:solidFill>
          <a:latin typeface="Arial" charset="0"/>
        </a:defRPr>
      </a:lvl9pPr>
    </p:titleStyle>
    <p:bodyStyle>
      <a:lvl1pPr marL="0" indent="0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273" baseline="0">
          <a:solidFill>
            <a:schemeClr val="tx1"/>
          </a:solidFill>
          <a:latin typeface="+mn-lt"/>
          <a:ea typeface="+mn-ea"/>
          <a:cs typeface="+mn-cs"/>
        </a:defRPr>
      </a:lvl1pPr>
      <a:lvl2pPr marL="152777" indent="-155930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73" baseline="0">
          <a:solidFill>
            <a:schemeClr val="tx1"/>
          </a:solidFill>
          <a:latin typeface="+mn-lt"/>
        </a:defRPr>
      </a:lvl2pPr>
      <a:lvl3pPr marL="363755" indent="-212632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73" baseline="0">
          <a:solidFill>
            <a:schemeClr val="tx1"/>
          </a:solidFill>
          <a:latin typeface="+mn-lt"/>
        </a:defRPr>
      </a:lvl3pPr>
      <a:lvl4pPr marL="487431" indent="-126290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73" baseline="0">
          <a:solidFill>
            <a:schemeClr val="tx1"/>
          </a:solidFill>
          <a:latin typeface="+mn-lt"/>
        </a:defRPr>
      </a:lvl4pPr>
      <a:lvl5pPr marL="596558" indent="-101851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73" baseline="0">
          <a:solidFill>
            <a:schemeClr val="tx1"/>
          </a:solidFill>
          <a:latin typeface="+mn-lt"/>
        </a:defRPr>
      </a:lvl5pPr>
      <a:lvl6pPr marL="608668" indent="-105672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98" baseline="0">
          <a:solidFill>
            <a:schemeClr val="tx1"/>
          </a:solidFill>
          <a:latin typeface="+mn-lt"/>
        </a:defRPr>
      </a:lvl6pPr>
      <a:lvl7pPr marL="608668" indent="-105672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98" baseline="0">
          <a:solidFill>
            <a:schemeClr val="tx1"/>
          </a:solidFill>
          <a:latin typeface="+mn-lt"/>
        </a:defRPr>
      </a:lvl7pPr>
      <a:lvl8pPr marL="608668" indent="-105672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98" baseline="0">
          <a:solidFill>
            <a:schemeClr val="tx1"/>
          </a:solidFill>
          <a:latin typeface="+mn-lt"/>
        </a:defRPr>
      </a:lvl8pPr>
      <a:lvl9pPr marL="608668" indent="-105672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98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1pPr>
      <a:lvl2pPr marL="371139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2pPr>
      <a:lvl3pPr marL="742278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3pPr>
      <a:lvl4pPr marL="1113417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4pPr>
      <a:lvl5pPr marL="1484557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5pPr>
      <a:lvl6pPr marL="1855696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6pPr>
      <a:lvl7pPr marL="2226835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7pPr>
      <a:lvl8pPr marL="2597974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8pPr>
      <a:lvl9pPr marL="2969113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955479999"/>
              </p:ext>
            </p:extLst>
          </p:nvPr>
        </p:nvGraphicFramePr>
        <p:xfrm>
          <a:off x="2" y="0"/>
          <a:ext cx="215978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215978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2" y="0"/>
            <a:ext cx="215978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750" b="0" i="0" baseline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9" name="Picture 108"/>
          <p:cNvPicPr>
            <a:picLocks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233257" y="6468512"/>
            <a:ext cx="2889060" cy="26923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5" name="Straight Connector 104"/>
          <p:cNvCxnSpPr/>
          <p:nvPr/>
        </p:nvCxnSpPr>
        <p:spPr bwMode="ltGray">
          <a:xfrm flipV="1">
            <a:off x="469537" y="943038"/>
            <a:ext cx="11469712" cy="17939"/>
          </a:xfrm>
          <a:prstGeom prst="line">
            <a:avLst/>
          </a:prstGeom>
          <a:noFill/>
          <a:ln w="6350" cap="flat" cmpd="sng" algn="ctr">
            <a:solidFill>
              <a:srgbClr val="A5A5A5"/>
            </a:solidFill>
            <a:prstDash val="solid"/>
            <a:miter lim="800000"/>
          </a:ln>
          <a:effectLst/>
        </p:spPr>
      </p:cxnSp>
      <p:sp>
        <p:nvSpPr>
          <p:cNvPr id="114" name="Slide Number"/>
          <p:cNvSpPr txBox="1">
            <a:spLocks/>
          </p:cNvSpPr>
          <p:nvPr/>
        </p:nvSpPr>
        <p:spPr bwMode="auto">
          <a:xfrm>
            <a:off x="11836916" y="6598956"/>
            <a:ext cx="121828" cy="12246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796" baseline="0" smtClean="0">
                <a:solidFill>
                  <a:schemeClr val="tx1"/>
                </a:solidFill>
                <a:latin typeface="+mn-lt"/>
              </a:rPr>
              <a:pPr algn="r"/>
              <a:t>‹#›</a:t>
            </a:fld>
            <a:endParaRPr lang="en-US" sz="796" baseline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1450681" y="2318824"/>
            <a:ext cx="1349728" cy="749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87" baseline="0">
                <a:solidFill>
                  <a:srgbClr val="808080"/>
                </a:solidFill>
                <a:latin typeface="+mn-lt"/>
                <a:ea typeface="+mn-ea"/>
              </a:rPr>
              <a:t>Last Modified 9/1/2021 9:10 AM Arab Standard Time</a:t>
            </a:r>
            <a:endParaRPr lang="en-US" sz="1298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534837" y="4536804"/>
            <a:ext cx="1181414" cy="749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487" baseline="0">
                <a:solidFill>
                  <a:srgbClr val="808080"/>
                </a:solidFill>
                <a:latin typeface="+mn-lt"/>
                <a:ea typeface="+mn-ea"/>
              </a:rPr>
              <a:t>Printed 29/12/2019 07:18 Arab Standard Time</a:t>
            </a:r>
            <a:endParaRPr lang="en-US" sz="1298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65414" y="300917"/>
            <a:ext cx="11469712" cy="5706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33259" y="9525"/>
            <a:ext cx="527388" cy="1714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114" cap="all" baseline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3259" y="594712"/>
            <a:ext cx="11725485" cy="19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73" baseline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233258" y="6132775"/>
            <a:ext cx="11725485" cy="122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75782" indent="-75782">
              <a:defRPr/>
            </a:pPr>
            <a:r>
              <a:rPr lang="en-US" sz="796" baseline="0">
                <a:solidFill>
                  <a:schemeClr val="tx1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3300308" y="6614619"/>
            <a:ext cx="8291616" cy="122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86490" indent="-386490" defTabSz="726814">
              <a:tabLst>
                <a:tab pos="511605" algn="l"/>
              </a:tabLst>
            </a:pPr>
            <a:r>
              <a:rPr lang="en-US" sz="796" baseline="0">
                <a:solidFill>
                  <a:schemeClr val="tx1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6" y="2094109"/>
            <a:ext cx="5853024" cy="409795"/>
            <a:chOff x="915" y="777"/>
            <a:chExt cx="2686" cy="25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77"/>
              <a:ext cx="2686" cy="2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273" b="1" baseline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273" baseline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11255489" y="305676"/>
            <a:ext cx="612776" cy="984251"/>
            <a:chOff x="4936" y="176"/>
            <a:chExt cx="386" cy="620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26" cy="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65">
                <a:latin typeface="+mn-lt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26" cy="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65">
                <a:latin typeface="+mn-lt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26" cy="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65">
                <a:latin typeface="+mn-lt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26" cy="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65">
                <a:latin typeface="+mn-lt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10947511" y="305675"/>
            <a:ext cx="920751" cy="692152"/>
            <a:chOff x="4750" y="176"/>
            <a:chExt cx="580" cy="436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65">
                <a:latin typeface="+mn-lt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65">
                <a:latin typeface="+mn-lt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65">
                <a:latin typeface="+mn-lt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26" cy="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26" cy="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26" cy="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auto">
          <a:xfrm>
            <a:off x="11188903" y="305675"/>
            <a:ext cx="679748" cy="1306516"/>
            <a:chOff x="7875175" y="286625"/>
            <a:chExt cx="679748" cy="1306516"/>
          </a:xfrm>
        </p:grpSpPr>
        <p:grpSp>
          <p:nvGrpSpPr>
            <p:cNvPr id="80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98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  <p:sp>
            <p:nvSpPr>
              <p:cNvPr id="99" name="Arc 42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</p:grpSp>
        <p:grpSp>
          <p:nvGrpSpPr>
            <p:cNvPr id="81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96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  <p:sp>
            <p:nvSpPr>
              <p:cNvPr id="97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</p:grpSp>
        <p:grpSp>
          <p:nvGrpSpPr>
            <p:cNvPr id="82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94" name="Oval 50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  <p:sp>
            <p:nvSpPr>
              <p:cNvPr id="95" name="Oval 5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</p:grpSp>
        <p:sp>
          <p:nvSpPr>
            <p:cNvPr id="83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359073" cy="1468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84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359073" cy="1468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85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359073" cy="1468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86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359073" cy="1468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87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359073" cy="1468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grpSp>
          <p:nvGrpSpPr>
            <p:cNvPr id="88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2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  <p:sp>
            <p:nvSpPr>
              <p:cNvPr id="93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</p:grpSp>
        <p:grpSp>
          <p:nvGrpSpPr>
            <p:cNvPr id="89" name="MoonLegend1"/>
            <p:cNvGrpSpPr>
              <a:grpSpLocks noChangeAspect="1"/>
            </p:cNvGrpSpPr>
            <p:nvPr userDrawn="1">
              <p:custDataLst>
                <p:tags r:id="rId14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0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  <p:sp>
            <p:nvSpPr>
              <p:cNvPr id="91" name="Arc 42" hidden="1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</p:grpSp>
      </p:grpSp>
      <p:grpSp>
        <p:nvGrpSpPr>
          <p:cNvPr id="100" name="Sticker" hidden="1"/>
          <p:cNvGrpSpPr/>
          <p:nvPr/>
        </p:nvGrpSpPr>
        <p:grpSpPr bwMode="auto">
          <a:xfrm>
            <a:off x="11252971" y="305674"/>
            <a:ext cx="705771" cy="174535"/>
            <a:chOff x="8035004" y="285750"/>
            <a:chExt cx="705771" cy="174536"/>
          </a:xfrm>
        </p:grpSpPr>
        <p:sp>
          <p:nvSpPr>
            <p:cNvPr id="101" name="StickerRectangle"/>
            <p:cNvSpPr>
              <a:spLocks noChangeArrowheads="1"/>
            </p:cNvSpPr>
            <p:nvPr/>
          </p:nvSpPr>
          <p:spPr bwMode="auto">
            <a:xfrm>
              <a:off x="8035004" y="285750"/>
              <a:ext cx="705771" cy="17453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712353">
                <a:buClr>
                  <a:schemeClr val="tx2"/>
                </a:buClr>
              </a:pPr>
              <a:r>
                <a:rPr lang="en-US" sz="954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2" name="AutoShape 31"/>
            <p:cNvCxnSpPr>
              <a:cxnSpLocks noChangeShapeType="1"/>
              <a:stCxn id="101" idx="2"/>
              <a:endCxn id="101" idx="4"/>
            </p:cNvCxnSpPr>
            <p:nvPr/>
          </p:nvCxnSpPr>
          <p:spPr bwMode="auto">
            <a:xfrm>
              <a:off x="8035004" y="285750"/>
              <a:ext cx="0" cy="17453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3" name="AutoShape 32"/>
            <p:cNvCxnSpPr>
              <a:cxnSpLocks noChangeShapeType="1"/>
              <a:stCxn id="101" idx="4"/>
              <a:endCxn id="101" idx="6"/>
            </p:cNvCxnSpPr>
            <p:nvPr/>
          </p:nvCxnSpPr>
          <p:spPr bwMode="auto">
            <a:xfrm>
              <a:off x="8035004" y="460286"/>
              <a:ext cx="70577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AECB8FE6-161D-0D2E-A64F-F8CB1DD73110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63500" y="63500"/>
            <a:ext cx="3783013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assified as Public and Information can be shared with anyone needful of the Information.</a:t>
            </a:r>
          </a:p>
        </p:txBody>
      </p:sp>
    </p:spTree>
    <p:extLst>
      <p:ext uri="{BB962C8B-B14F-4D97-AF65-F5344CB8AC3E}">
        <p14:creationId xmlns:p14="http://schemas.microsoft.com/office/powerpoint/2010/main" val="1353000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</p:sldLayoutIdLst>
  <p:hf sldNum="0" hdr="0" ftr="0" dt="0"/>
  <p:txStyles>
    <p:titleStyle>
      <a:lvl1pPr algn="l" defTabSz="726814" rtl="0" eaLnBrk="1" fontAlgn="base" hangingPunct="1">
        <a:spcBef>
          <a:spcPct val="0"/>
        </a:spcBef>
        <a:spcAft>
          <a:spcPct val="0"/>
        </a:spcAft>
        <a:tabLst>
          <a:tab pos="219075" algn="l"/>
        </a:tabLst>
        <a:defRPr sz="2177" b="0" baseline="0">
          <a:solidFill>
            <a:schemeClr val="bg1">
              <a:lumMod val="50000"/>
            </a:schemeClr>
          </a:solidFill>
          <a:latin typeface="+mj-lt"/>
          <a:ea typeface="+mj-ea"/>
          <a:cs typeface="+mj-cs"/>
        </a:defRPr>
      </a:lvl1pPr>
      <a:lvl2pPr algn="l" defTabSz="726814" rtl="0" eaLnBrk="1" fontAlgn="base" hangingPunct="1">
        <a:spcBef>
          <a:spcPct val="0"/>
        </a:spcBef>
        <a:spcAft>
          <a:spcPct val="0"/>
        </a:spcAft>
        <a:defRPr sz="1543" b="1">
          <a:solidFill>
            <a:schemeClr val="tx2"/>
          </a:solidFill>
          <a:latin typeface="Arial" charset="0"/>
        </a:defRPr>
      </a:lvl2pPr>
      <a:lvl3pPr algn="l" defTabSz="726814" rtl="0" eaLnBrk="1" fontAlgn="base" hangingPunct="1">
        <a:spcBef>
          <a:spcPct val="0"/>
        </a:spcBef>
        <a:spcAft>
          <a:spcPct val="0"/>
        </a:spcAft>
        <a:defRPr sz="1543" b="1">
          <a:solidFill>
            <a:schemeClr val="tx2"/>
          </a:solidFill>
          <a:latin typeface="Arial" charset="0"/>
        </a:defRPr>
      </a:lvl3pPr>
      <a:lvl4pPr algn="l" defTabSz="726814" rtl="0" eaLnBrk="1" fontAlgn="base" hangingPunct="1">
        <a:spcBef>
          <a:spcPct val="0"/>
        </a:spcBef>
        <a:spcAft>
          <a:spcPct val="0"/>
        </a:spcAft>
        <a:defRPr sz="1543" b="1">
          <a:solidFill>
            <a:schemeClr val="tx2"/>
          </a:solidFill>
          <a:latin typeface="Arial" charset="0"/>
        </a:defRPr>
      </a:lvl4pPr>
      <a:lvl5pPr algn="l" defTabSz="726814" rtl="0" eaLnBrk="1" fontAlgn="base" hangingPunct="1">
        <a:spcBef>
          <a:spcPct val="0"/>
        </a:spcBef>
        <a:spcAft>
          <a:spcPct val="0"/>
        </a:spcAft>
        <a:defRPr sz="1543" b="1">
          <a:solidFill>
            <a:schemeClr val="tx2"/>
          </a:solidFill>
          <a:latin typeface="Arial" charset="0"/>
        </a:defRPr>
      </a:lvl5pPr>
      <a:lvl6pPr marL="371139" algn="l" defTabSz="726814" rtl="0" eaLnBrk="1" fontAlgn="base" hangingPunct="1">
        <a:spcBef>
          <a:spcPct val="0"/>
        </a:spcBef>
        <a:spcAft>
          <a:spcPct val="0"/>
        </a:spcAft>
        <a:defRPr sz="1543" b="1">
          <a:solidFill>
            <a:schemeClr val="tx2"/>
          </a:solidFill>
          <a:latin typeface="Arial" charset="0"/>
        </a:defRPr>
      </a:lvl6pPr>
      <a:lvl7pPr marL="742278" algn="l" defTabSz="726814" rtl="0" eaLnBrk="1" fontAlgn="base" hangingPunct="1">
        <a:spcBef>
          <a:spcPct val="0"/>
        </a:spcBef>
        <a:spcAft>
          <a:spcPct val="0"/>
        </a:spcAft>
        <a:defRPr sz="1543" b="1">
          <a:solidFill>
            <a:schemeClr val="tx2"/>
          </a:solidFill>
          <a:latin typeface="Arial" charset="0"/>
        </a:defRPr>
      </a:lvl7pPr>
      <a:lvl8pPr marL="1113417" algn="l" defTabSz="726814" rtl="0" eaLnBrk="1" fontAlgn="base" hangingPunct="1">
        <a:spcBef>
          <a:spcPct val="0"/>
        </a:spcBef>
        <a:spcAft>
          <a:spcPct val="0"/>
        </a:spcAft>
        <a:defRPr sz="1543" b="1">
          <a:solidFill>
            <a:schemeClr val="tx2"/>
          </a:solidFill>
          <a:latin typeface="Arial" charset="0"/>
        </a:defRPr>
      </a:lvl8pPr>
      <a:lvl9pPr marL="1484557" algn="l" defTabSz="726814" rtl="0" eaLnBrk="1" fontAlgn="base" hangingPunct="1">
        <a:spcBef>
          <a:spcPct val="0"/>
        </a:spcBef>
        <a:spcAft>
          <a:spcPct val="0"/>
        </a:spcAft>
        <a:defRPr sz="1543" b="1">
          <a:solidFill>
            <a:schemeClr val="tx2"/>
          </a:solidFill>
          <a:latin typeface="Arial" charset="0"/>
        </a:defRPr>
      </a:lvl9pPr>
    </p:titleStyle>
    <p:bodyStyle>
      <a:lvl1pPr marL="0" indent="0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273" baseline="0">
          <a:solidFill>
            <a:schemeClr val="tx1"/>
          </a:solidFill>
          <a:latin typeface="+mn-lt"/>
          <a:ea typeface="+mn-ea"/>
          <a:cs typeface="+mn-cs"/>
        </a:defRPr>
      </a:lvl1pPr>
      <a:lvl2pPr marL="152777" indent="-155930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73" baseline="0">
          <a:solidFill>
            <a:schemeClr val="tx1"/>
          </a:solidFill>
          <a:latin typeface="+mn-lt"/>
        </a:defRPr>
      </a:lvl2pPr>
      <a:lvl3pPr marL="363755" indent="-212632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73" baseline="0">
          <a:solidFill>
            <a:schemeClr val="tx1"/>
          </a:solidFill>
          <a:latin typeface="+mn-lt"/>
        </a:defRPr>
      </a:lvl3pPr>
      <a:lvl4pPr marL="487431" indent="-126290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73" baseline="0">
          <a:solidFill>
            <a:schemeClr val="tx1"/>
          </a:solidFill>
          <a:latin typeface="+mn-lt"/>
        </a:defRPr>
      </a:lvl4pPr>
      <a:lvl5pPr marL="596558" indent="-101851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73" baseline="0">
          <a:solidFill>
            <a:schemeClr val="tx1"/>
          </a:solidFill>
          <a:latin typeface="+mn-lt"/>
        </a:defRPr>
      </a:lvl5pPr>
      <a:lvl6pPr marL="608668" indent="-105672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98" baseline="0">
          <a:solidFill>
            <a:schemeClr val="tx1"/>
          </a:solidFill>
          <a:latin typeface="+mn-lt"/>
        </a:defRPr>
      </a:lvl6pPr>
      <a:lvl7pPr marL="608668" indent="-105672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98" baseline="0">
          <a:solidFill>
            <a:schemeClr val="tx1"/>
          </a:solidFill>
          <a:latin typeface="+mn-lt"/>
        </a:defRPr>
      </a:lvl7pPr>
      <a:lvl8pPr marL="608668" indent="-105672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98" baseline="0">
          <a:solidFill>
            <a:schemeClr val="tx1"/>
          </a:solidFill>
          <a:latin typeface="+mn-lt"/>
        </a:defRPr>
      </a:lvl8pPr>
      <a:lvl9pPr marL="608668" indent="-105672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98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1pPr>
      <a:lvl2pPr marL="371139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2pPr>
      <a:lvl3pPr marL="742278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3pPr>
      <a:lvl4pPr marL="1113417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4pPr>
      <a:lvl5pPr marL="1484557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5pPr>
      <a:lvl6pPr marL="1855696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6pPr>
      <a:lvl7pPr marL="2226835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7pPr>
      <a:lvl8pPr marL="2597974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8pPr>
      <a:lvl9pPr marL="2969113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424674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413" imgH="416" progId="TCLayout.ActiveDocument.1">
                  <p:embed/>
                </p:oleObj>
              </mc:Choice>
              <mc:Fallback>
                <p:oleObj name="think-cell Slide" r:id="rId3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553972" y="6190849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 rtl="0"/>
            <a:r>
              <a:rPr lang="en-US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/>
        </p:nvSpPr>
        <p:spPr>
          <a:xfrm>
            <a:off x="554736" y="1198743"/>
            <a:ext cx="344646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 lvl="0"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en-US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5987738" y="2170800"/>
            <a:ext cx="3049253" cy="49244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Above Chart Exhibit Title</a:t>
            </a:r>
            <a:br>
              <a:rPr lang="en-US"/>
            </a:br>
            <a:r>
              <a:rPr lang="en-US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 flipH="1">
            <a:off x="554736" y="1646241"/>
            <a:ext cx="4762018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54" name="LegendLines" hidden="1">
            <a:extLst>
              <a:ext uri="{FF2B5EF4-FFF2-40B4-BE49-F238E27FC236}">
                <a16:creationId xmlns:a16="http://schemas.microsoft.com/office/drawing/2014/main" id="{E5A3A058-6B69-4312-AF71-61B1CC1967FA}"/>
              </a:ext>
            </a:extLst>
          </p:cNvPr>
          <p:cNvGrpSpPr/>
          <p:nvPr/>
        </p:nvGrpSpPr>
        <p:grpSpPr>
          <a:xfrm>
            <a:off x="10398782" y="3150223"/>
            <a:ext cx="1251160" cy="958286"/>
            <a:chOff x="10162879" y="3243772"/>
            <a:chExt cx="1251160" cy="958286"/>
          </a:xfrm>
        </p:grpSpPr>
        <p:sp>
          <p:nvSpPr>
            <p:cNvPr id="155" name="Legend1" hidden="1">
              <a:extLst>
                <a:ext uri="{FF2B5EF4-FFF2-40B4-BE49-F238E27FC236}">
                  <a16:creationId xmlns:a16="http://schemas.microsoft.com/office/drawing/2014/main" id="{B1483347-D2CB-45E0-9695-BBA35B33DCFC}"/>
                </a:ext>
              </a:extLst>
            </p:cNvPr>
            <p:cNvSpPr txBox="1"/>
            <p:nvPr/>
          </p:nvSpPr>
          <p:spPr>
            <a:xfrm>
              <a:off x="10886522" y="324377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6" name="Legend2" hidden="1">
              <a:extLst>
                <a:ext uri="{FF2B5EF4-FFF2-40B4-BE49-F238E27FC236}">
                  <a16:creationId xmlns:a16="http://schemas.microsoft.com/office/drawing/2014/main" id="{74639385-1E48-4018-A994-9AC18FC989D1}"/>
                </a:ext>
              </a:extLst>
            </p:cNvPr>
            <p:cNvSpPr txBox="1"/>
            <p:nvPr/>
          </p:nvSpPr>
          <p:spPr>
            <a:xfrm>
              <a:off x="10886522" y="3615193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7" name="Legend3" hidden="1">
              <a:extLst>
                <a:ext uri="{FF2B5EF4-FFF2-40B4-BE49-F238E27FC236}">
                  <a16:creationId xmlns:a16="http://schemas.microsoft.com/office/drawing/2014/main" id="{7B527157-F5B7-4231-9280-9C00C99F750A}"/>
                </a:ext>
              </a:extLst>
            </p:cNvPr>
            <p:cNvSpPr txBox="1"/>
            <p:nvPr/>
          </p:nvSpPr>
          <p:spPr>
            <a:xfrm>
              <a:off x="10886522" y="398661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8" name="LineLegend3" hidden="1">
              <a:extLst>
                <a:ext uri="{FF2B5EF4-FFF2-40B4-BE49-F238E27FC236}">
                  <a16:creationId xmlns:a16="http://schemas.microsoft.com/office/drawing/2014/main" id="{CFC4A46B-4B4C-4E18-8C29-56ED1CA8C9F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n-US" sz="1400" baseline="0">
                <a:ea typeface="+mn-ea"/>
              </a:endParaRPr>
            </a:p>
          </p:txBody>
        </p:sp>
        <p:sp>
          <p:nvSpPr>
            <p:cNvPr id="159" name="LineLegend2" hidden="1">
              <a:extLst>
                <a:ext uri="{FF2B5EF4-FFF2-40B4-BE49-F238E27FC236}">
                  <a16:creationId xmlns:a16="http://schemas.microsoft.com/office/drawing/2014/main" id="{299E6BB7-7600-46F2-A0DA-ADCB38112B6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n-US" sz="1400" baseline="0">
                <a:ea typeface="+mn-ea"/>
              </a:endParaRPr>
            </a:p>
          </p:txBody>
        </p:sp>
        <p:sp>
          <p:nvSpPr>
            <p:cNvPr id="160" name="LineLegend1" hidden="1">
              <a:extLst>
                <a:ext uri="{FF2B5EF4-FFF2-40B4-BE49-F238E27FC236}">
                  <a16:creationId xmlns:a16="http://schemas.microsoft.com/office/drawing/2014/main" id="{3DAD72C9-4400-4CA3-91AC-3D74AFB20BC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n-US" sz="1400" baseline="0">
                <a:ea typeface="+mn-ea"/>
              </a:endParaRPr>
            </a:p>
          </p:txBody>
        </p:sp>
      </p:grpSp>
      <p:grpSp>
        <p:nvGrpSpPr>
          <p:cNvPr id="161" name="LegendMoons" hidden="1">
            <a:extLst>
              <a:ext uri="{FF2B5EF4-FFF2-40B4-BE49-F238E27FC236}">
                <a16:creationId xmlns:a16="http://schemas.microsoft.com/office/drawing/2014/main" id="{B0D16645-DEE1-4F0A-B841-F0821AA8B01C}"/>
              </a:ext>
            </a:extLst>
          </p:cNvPr>
          <p:cNvGrpSpPr/>
          <p:nvPr/>
        </p:nvGrpSpPr>
        <p:grpSpPr>
          <a:xfrm>
            <a:off x="10769793" y="1145373"/>
            <a:ext cx="880149" cy="1731859"/>
            <a:chOff x="7723680" y="1702457"/>
            <a:chExt cx="880149" cy="1731859"/>
          </a:xfrm>
        </p:grpSpPr>
        <p:sp>
          <p:nvSpPr>
            <p:cNvPr id="162" name="Legend1" hidden="1">
              <a:extLst>
                <a:ext uri="{FF2B5EF4-FFF2-40B4-BE49-F238E27FC236}">
                  <a16:creationId xmlns:a16="http://schemas.microsoft.com/office/drawing/2014/main" id="{D5B6618B-0438-43C0-8BA2-9D42FD270E47}"/>
                </a:ext>
              </a:extLst>
            </p:cNvPr>
            <p:cNvSpPr txBox="1"/>
            <p:nvPr/>
          </p:nvSpPr>
          <p:spPr>
            <a:xfrm>
              <a:off x="8076312" y="1709816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3" name="Legend2" hidden="1">
              <a:extLst>
                <a:ext uri="{FF2B5EF4-FFF2-40B4-BE49-F238E27FC236}">
                  <a16:creationId xmlns:a16="http://schemas.microsoft.com/office/drawing/2014/main" id="{C6D9E259-1A28-4D00-BB3C-19F46D2232FD}"/>
                </a:ext>
              </a:extLst>
            </p:cNvPr>
            <p:cNvSpPr txBox="1"/>
            <p:nvPr/>
          </p:nvSpPr>
          <p:spPr>
            <a:xfrm>
              <a:off x="8076312" y="2085275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4" name="Legend3" hidden="1">
              <a:extLst>
                <a:ext uri="{FF2B5EF4-FFF2-40B4-BE49-F238E27FC236}">
                  <a16:creationId xmlns:a16="http://schemas.microsoft.com/office/drawing/2014/main" id="{3189FEC7-CC51-4CAE-A6C6-FEA94E439F34}"/>
                </a:ext>
              </a:extLst>
            </p:cNvPr>
            <p:cNvSpPr txBox="1"/>
            <p:nvPr/>
          </p:nvSpPr>
          <p:spPr>
            <a:xfrm>
              <a:off x="8076312" y="246073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5" name="Legend4" hidden="1">
              <a:extLst>
                <a:ext uri="{FF2B5EF4-FFF2-40B4-BE49-F238E27FC236}">
                  <a16:creationId xmlns:a16="http://schemas.microsoft.com/office/drawing/2014/main" id="{21BBB0F4-4F3A-484D-8E0B-EBB347B64AFE}"/>
                </a:ext>
              </a:extLst>
            </p:cNvPr>
            <p:cNvSpPr txBox="1"/>
            <p:nvPr/>
          </p:nvSpPr>
          <p:spPr>
            <a:xfrm>
              <a:off x="8076312" y="2836193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6" name="Legend5" hidden="1">
              <a:extLst>
                <a:ext uri="{FF2B5EF4-FFF2-40B4-BE49-F238E27FC236}">
                  <a16:creationId xmlns:a16="http://schemas.microsoft.com/office/drawing/2014/main" id="{771E2F80-1473-47C1-82BE-1713554C2FF5}"/>
                </a:ext>
              </a:extLst>
            </p:cNvPr>
            <p:cNvSpPr txBox="1"/>
            <p:nvPr/>
          </p:nvSpPr>
          <p:spPr>
            <a:xfrm>
              <a:off x="8076312" y="321165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167" name="MoonLegend1" hidden="1">
              <a:extLst>
                <a:ext uri="{FF2B5EF4-FFF2-40B4-BE49-F238E27FC236}">
                  <a16:creationId xmlns:a16="http://schemas.microsoft.com/office/drawing/2014/main" id="{257648F1-4AEE-48B7-AFF5-A8DEC1282986}"/>
                </a:ext>
              </a:extLst>
            </p:cNvPr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91" name="Oval 190" hidden="1">
                <a:extLst>
                  <a:ext uri="{FF2B5EF4-FFF2-40B4-BE49-F238E27FC236}">
                    <a16:creationId xmlns:a16="http://schemas.microsoft.com/office/drawing/2014/main" id="{DE0AC04E-3843-461E-85BB-02189C02D0E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92" name="Arc 191" hidden="1">
                <a:extLst>
                  <a:ext uri="{FF2B5EF4-FFF2-40B4-BE49-F238E27FC236}">
                    <a16:creationId xmlns:a16="http://schemas.microsoft.com/office/drawing/2014/main" id="{E6456482-4CF3-4836-AD30-886DEF507226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n-US" sz="1400"/>
              </a:p>
            </p:txBody>
          </p:sp>
        </p:grpSp>
        <p:grpSp>
          <p:nvGrpSpPr>
            <p:cNvPr id="168" name="MoonLegend2" hidden="1">
              <a:extLst>
                <a:ext uri="{FF2B5EF4-FFF2-40B4-BE49-F238E27FC236}">
                  <a16:creationId xmlns:a16="http://schemas.microsoft.com/office/drawing/2014/main" id="{F97812AB-8645-4B75-86C0-6BCF902FD82F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89" name="Oval 188" hidden="1">
                <a:extLst>
                  <a:ext uri="{FF2B5EF4-FFF2-40B4-BE49-F238E27FC236}">
                    <a16:creationId xmlns:a16="http://schemas.microsoft.com/office/drawing/2014/main" id="{8D1BABEF-D16B-415A-811D-7E8ACD1CF320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90" name="Arc 189" hidden="1">
                <a:extLst>
                  <a:ext uri="{FF2B5EF4-FFF2-40B4-BE49-F238E27FC236}">
                    <a16:creationId xmlns:a16="http://schemas.microsoft.com/office/drawing/2014/main" id="{B451E5A3-4CB0-48E0-8165-36259B3A1195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n-US" sz="1400"/>
              </a:p>
            </p:txBody>
          </p:sp>
        </p:grpSp>
        <p:grpSp>
          <p:nvGrpSpPr>
            <p:cNvPr id="179" name="MoonLegend3" hidden="1">
              <a:extLst>
                <a:ext uri="{FF2B5EF4-FFF2-40B4-BE49-F238E27FC236}">
                  <a16:creationId xmlns:a16="http://schemas.microsoft.com/office/drawing/2014/main" id="{CCA1B5A0-01FC-4D63-A5BA-8FF1905A5B98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87" name="Oval 186" hidden="1">
                <a:extLst>
                  <a:ext uri="{FF2B5EF4-FFF2-40B4-BE49-F238E27FC236}">
                    <a16:creationId xmlns:a16="http://schemas.microsoft.com/office/drawing/2014/main" id="{148EF22F-929B-4D1E-BAD3-4F8E0AB9B89E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88" name="Arc 187" hidden="1">
                <a:extLst>
                  <a:ext uri="{FF2B5EF4-FFF2-40B4-BE49-F238E27FC236}">
                    <a16:creationId xmlns:a16="http://schemas.microsoft.com/office/drawing/2014/main" id="{FC3514F6-8FFF-446A-B0F0-157469FC9A2B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n-US" sz="1400"/>
              </a:p>
            </p:txBody>
          </p:sp>
        </p:grpSp>
        <p:grpSp>
          <p:nvGrpSpPr>
            <p:cNvPr id="180" name="MoonLegend4" hidden="1">
              <a:extLst>
                <a:ext uri="{FF2B5EF4-FFF2-40B4-BE49-F238E27FC236}">
                  <a16:creationId xmlns:a16="http://schemas.microsoft.com/office/drawing/2014/main" id="{1FEB0E84-C05F-4893-810F-76988B257346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84" name="Oval 183" hidden="1">
                <a:extLst>
                  <a:ext uri="{FF2B5EF4-FFF2-40B4-BE49-F238E27FC236}">
                    <a16:creationId xmlns:a16="http://schemas.microsoft.com/office/drawing/2014/main" id="{C1A3C7B0-C48D-4DBA-808D-EFE7D16D82FB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85" name="Arc 184" hidden="1">
                <a:extLst>
                  <a:ext uri="{FF2B5EF4-FFF2-40B4-BE49-F238E27FC236}">
                    <a16:creationId xmlns:a16="http://schemas.microsoft.com/office/drawing/2014/main" id="{24920167-749D-43A3-ACDA-7A2D6395ED68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n-US" sz="1400"/>
              </a:p>
            </p:txBody>
          </p:sp>
        </p:grpSp>
        <p:grpSp>
          <p:nvGrpSpPr>
            <p:cNvPr id="181" name="MoonLegend5" hidden="1">
              <a:extLst>
                <a:ext uri="{FF2B5EF4-FFF2-40B4-BE49-F238E27FC236}">
                  <a16:creationId xmlns:a16="http://schemas.microsoft.com/office/drawing/2014/main" id="{E0698A10-4500-4D0E-9EC6-A3BD37BE7A9E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82" name="Oval 181" hidden="1">
                <a:extLst>
                  <a:ext uri="{FF2B5EF4-FFF2-40B4-BE49-F238E27FC236}">
                    <a16:creationId xmlns:a16="http://schemas.microsoft.com/office/drawing/2014/main" id="{22BACCB4-258E-43DE-98CC-C8F5A047906B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83" name="Arc 182" hidden="1">
                <a:extLst>
                  <a:ext uri="{FF2B5EF4-FFF2-40B4-BE49-F238E27FC236}">
                    <a16:creationId xmlns:a16="http://schemas.microsoft.com/office/drawing/2014/main" id="{293EEF3B-F6E4-4786-8B6F-C138E7A96529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n-US" sz="1400"/>
              </a:p>
            </p:txBody>
          </p:sp>
        </p:grpSp>
      </p:grpSp>
      <p:grpSp>
        <p:nvGrpSpPr>
          <p:cNvPr id="193" name="LegendBoxes" hidden="1">
            <a:extLst>
              <a:ext uri="{FF2B5EF4-FFF2-40B4-BE49-F238E27FC236}">
                <a16:creationId xmlns:a16="http://schemas.microsoft.com/office/drawing/2014/main" id="{8B383AE1-3237-4072-A4A6-78EF864F79A4}"/>
              </a:ext>
            </a:extLst>
          </p:cNvPr>
          <p:cNvGrpSpPr/>
          <p:nvPr/>
        </p:nvGrpSpPr>
        <p:grpSpPr>
          <a:xfrm>
            <a:off x="10796279" y="4381500"/>
            <a:ext cx="853663" cy="1717282"/>
            <a:chOff x="10652400" y="4322824"/>
            <a:chExt cx="853663" cy="1717282"/>
          </a:xfrm>
        </p:grpSpPr>
        <p:sp>
          <p:nvSpPr>
            <p:cNvPr id="194" name="RectangleLegend1" hidden="1">
              <a:extLst>
                <a:ext uri="{FF2B5EF4-FFF2-40B4-BE49-F238E27FC236}">
                  <a16:creationId xmlns:a16="http://schemas.microsoft.com/office/drawing/2014/main" id="{0EA23167-681D-4989-BC18-D73BAB2B2AB3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5" name="RectangleLegend2" hidden="1">
              <a:extLst>
                <a:ext uri="{FF2B5EF4-FFF2-40B4-BE49-F238E27FC236}">
                  <a16:creationId xmlns:a16="http://schemas.microsoft.com/office/drawing/2014/main" id="{85899BF4-99D2-4E2D-B434-476BCD53AD38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6" name="RectangleLegend3" hidden="1">
              <a:extLst>
                <a:ext uri="{FF2B5EF4-FFF2-40B4-BE49-F238E27FC236}">
                  <a16:creationId xmlns:a16="http://schemas.microsoft.com/office/drawing/2014/main" id="{0B167C30-E7EC-419A-B900-3B3C139473EE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7" name="RectangleLegend4" hidden="1">
              <a:extLst>
                <a:ext uri="{FF2B5EF4-FFF2-40B4-BE49-F238E27FC236}">
                  <a16:creationId xmlns:a16="http://schemas.microsoft.com/office/drawing/2014/main" id="{AB8928CE-7CCC-4607-AA2B-308D14F776C5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7" name="RectangleLegend5" hidden="1">
              <a:extLst>
                <a:ext uri="{FF2B5EF4-FFF2-40B4-BE49-F238E27FC236}">
                  <a16:creationId xmlns:a16="http://schemas.microsoft.com/office/drawing/2014/main" id="{5609DB1D-49A1-469C-B440-1807991995FC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8" name="Legend1" hidden="1">
              <a:extLst>
                <a:ext uri="{FF2B5EF4-FFF2-40B4-BE49-F238E27FC236}">
                  <a16:creationId xmlns:a16="http://schemas.microsoft.com/office/drawing/2014/main" id="{C19D4B62-94C4-4A66-8EAE-32DA3026EC9B}"/>
                </a:ext>
              </a:extLst>
            </p:cNvPr>
            <p:cNvSpPr txBox="1"/>
            <p:nvPr/>
          </p:nvSpPr>
          <p:spPr>
            <a:xfrm>
              <a:off x="10978546" y="432282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9" name="Legend2" hidden="1">
              <a:extLst>
                <a:ext uri="{FF2B5EF4-FFF2-40B4-BE49-F238E27FC236}">
                  <a16:creationId xmlns:a16="http://schemas.microsoft.com/office/drawing/2014/main" id="{430CE5FC-9225-4C54-87D2-42C918FC9E0E}"/>
                </a:ext>
              </a:extLst>
            </p:cNvPr>
            <p:cNvSpPr txBox="1"/>
            <p:nvPr/>
          </p:nvSpPr>
          <p:spPr>
            <a:xfrm>
              <a:off x="10978546" y="470232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30" name="Legend3" hidden="1">
              <a:extLst>
                <a:ext uri="{FF2B5EF4-FFF2-40B4-BE49-F238E27FC236}">
                  <a16:creationId xmlns:a16="http://schemas.microsoft.com/office/drawing/2014/main" id="{2F383794-289F-4C43-8E59-C7B62CE7627E}"/>
                </a:ext>
              </a:extLst>
            </p:cNvPr>
            <p:cNvSpPr txBox="1"/>
            <p:nvPr/>
          </p:nvSpPr>
          <p:spPr>
            <a:xfrm>
              <a:off x="10978546" y="5081820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31" name="Legend4" hidden="1">
              <a:extLst>
                <a:ext uri="{FF2B5EF4-FFF2-40B4-BE49-F238E27FC236}">
                  <a16:creationId xmlns:a16="http://schemas.microsoft.com/office/drawing/2014/main" id="{FF3D5E8A-C4CA-410D-A740-D54C4CF48892}"/>
                </a:ext>
              </a:extLst>
            </p:cNvPr>
            <p:cNvSpPr txBox="1"/>
            <p:nvPr/>
          </p:nvSpPr>
          <p:spPr>
            <a:xfrm>
              <a:off x="10978546" y="5453241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32" name="Legend5" hidden="1">
              <a:extLst>
                <a:ext uri="{FF2B5EF4-FFF2-40B4-BE49-F238E27FC236}">
                  <a16:creationId xmlns:a16="http://schemas.microsoft.com/office/drawing/2014/main" id="{D48CF223-4C15-47D6-AF1A-6CDC04B4C1F8}"/>
                </a:ext>
              </a:extLst>
            </p:cNvPr>
            <p:cNvSpPr txBox="1"/>
            <p:nvPr/>
          </p:nvSpPr>
          <p:spPr>
            <a:xfrm>
              <a:off x="10978545" y="582466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pic>
        <p:nvPicPr>
          <p:cNvPr id="170" name="Picture 169">
            <a:extLst>
              <a:ext uri="{FF2B5EF4-FFF2-40B4-BE49-F238E27FC236}">
                <a16:creationId xmlns:a16="http://schemas.microsoft.com/office/drawing/2014/main" id="{DC939171-6E8C-4D80-A238-095B81711D68}"/>
              </a:ext>
            </a:extLst>
          </p:cNvPr>
          <p:cNvPicPr>
            <a:picLocks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72" name="Group 171">
            <a:extLst>
              <a:ext uri="{FF2B5EF4-FFF2-40B4-BE49-F238E27FC236}">
                <a16:creationId xmlns:a16="http://schemas.microsoft.com/office/drawing/2014/main" id="{11CDD93D-7B95-47D6-B3F8-1CC7258B1D37}"/>
              </a:ext>
            </a:extLst>
          </p:cNvPr>
          <p:cNvGrpSpPr/>
          <p:nvPr/>
        </p:nvGrpSpPr>
        <p:grpSpPr>
          <a:xfrm>
            <a:off x="554736" y="6368464"/>
            <a:ext cx="11082528" cy="54693"/>
            <a:chOff x="554736" y="6349068"/>
            <a:chExt cx="11082528" cy="54693"/>
          </a:xfrm>
        </p:grpSpPr>
        <p:cxnSp>
          <p:nvCxnSpPr>
            <p:cNvPr id="173" name="Straight Connector 172">
              <a:extLst>
                <a:ext uri="{FF2B5EF4-FFF2-40B4-BE49-F238E27FC236}">
                  <a16:creationId xmlns:a16="http://schemas.microsoft.com/office/drawing/2014/main" id="{BD712AA2-F213-4DA0-A97B-22A6B333B296}"/>
                </a:ext>
              </a:extLst>
            </p:cNvPr>
            <p:cNvCxnSpPr/>
            <p:nvPr userDrawn="1"/>
          </p:nvCxnSpPr>
          <p:spPr bwMode="ltGray">
            <a:xfrm flipV="1">
              <a:off x="554741" y="6349072"/>
              <a:ext cx="11082523" cy="17939"/>
            </a:xfrm>
            <a:prstGeom prst="line">
              <a:avLst/>
            </a:prstGeom>
            <a:noFill/>
            <a:ln w="6350" cap="flat" cmpd="sng" algn="ctr">
              <a:solidFill>
                <a:srgbClr val="A5A5A5"/>
              </a:solidFill>
              <a:prstDash val="solid"/>
              <a:miter lim="800000"/>
            </a:ln>
            <a:effectLst/>
          </p:spPr>
        </p:cxnSp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4263DFF2-9F58-4ECB-B41E-6B47E8753649}"/>
                </a:ext>
              </a:extLst>
            </p:cNvPr>
            <p:cNvSpPr/>
            <p:nvPr userDrawn="1"/>
          </p:nvSpPr>
          <p:spPr bwMode="ltGray">
            <a:xfrm>
              <a:off x="554736" y="6358042"/>
              <a:ext cx="2797733" cy="45719"/>
            </a:xfrm>
            <a:prstGeom prst="rect">
              <a:avLst/>
            </a:prstGeom>
            <a:solidFill>
              <a:srgbClr val="000000">
                <a:lumMod val="65000"/>
                <a:lumOff val="3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5" name="Rectangle 174">
              <a:extLst>
                <a:ext uri="{FF2B5EF4-FFF2-40B4-BE49-F238E27FC236}">
                  <a16:creationId xmlns:a16="http://schemas.microsoft.com/office/drawing/2014/main" id="{5148BDD5-08D6-47E3-92F7-471A9F316451}"/>
                </a:ext>
              </a:extLst>
            </p:cNvPr>
            <p:cNvSpPr/>
            <p:nvPr userDrawn="1"/>
          </p:nvSpPr>
          <p:spPr bwMode="ltGray">
            <a:xfrm>
              <a:off x="10671243" y="6349068"/>
              <a:ext cx="966017" cy="54688"/>
            </a:xfrm>
            <a:prstGeom prst="rect">
              <a:avLst/>
            </a:prstGeom>
            <a:solidFill>
              <a:srgbClr val="000000">
                <a:lumMod val="65000"/>
                <a:lumOff val="3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7ECCE39D-B19C-441D-9059-95D26F541E17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63500" y="63500"/>
            <a:ext cx="3783013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assified as Public and Information can be shared with anyone needful of the Information.</a:t>
            </a:r>
          </a:p>
        </p:txBody>
      </p:sp>
    </p:spTree>
    <p:extLst>
      <p:ext uri="{BB962C8B-B14F-4D97-AF65-F5344CB8AC3E}">
        <p14:creationId xmlns:p14="http://schemas.microsoft.com/office/powerpoint/2010/main" val="15397178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  <p:sldLayoutId id="2147483750" r:id="rId9"/>
    <p:sldLayoutId id="2147483751" r:id="rId10"/>
    <p:sldLayoutId id="2147483752" r:id="rId11"/>
    <p:sldLayoutId id="2147483753" r:id="rId12"/>
    <p:sldLayoutId id="2147483754" r:id="rId13"/>
    <p:sldLayoutId id="2147483755" r:id="rId14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42913" indent="-2143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8488" indent="-1524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7563" indent="-1476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549.xml"/><Relationship Id="rId7" Type="http://schemas.openxmlformats.org/officeDocument/2006/relationships/oleObject" Target="../embeddings/oleObject81.bin"/><Relationship Id="rId2" Type="http://schemas.openxmlformats.org/officeDocument/2006/relationships/tags" Target="../tags/tag548.xml"/><Relationship Id="rId1" Type="http://schemas.openxmlformats.org/officeDocument/2006/relationships/tags" Target="../tags/tag547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55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31.jpeg"/><Relationship Id="rId4" Type="http://schemas.openxmlformats.org/officeDocument/2006/relationships/image" Target="../media/image30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553.xml"/><Relationship Id="rId7" Type="http://schemas.openxmlformats.org/officeDocument/2006/relationships/oleObject" Target="../embeddings/oleObject82.bin"/><Relationship Id="rId2" Type="http://schemas.openxmlformats.org/officeDocument/2006/relationships/tags" Target="../tags/tag552.xml"/><Relationship Id="rId1" Type="http://schemas.openxmlformats.org/officeDocument/2006/relationships/tags" Target="../tags/tag551.x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55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8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52.png"/><Relationship Id="rId4" Type="http://schemas.openxmlformats.org/officeDocument/2006/relationships/image" Target="../media/image24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image" Target="../media/image260.png"/><Relationship Id="rId7" Type="http://schemas.openxmlformats.org/officeDocument/2006/relationships/image" Target="../media/image30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90.png"/><Relationship Id="rId5" Type="http://schemas.openxmlformats.org/officeDocument/2006/relationships/image" Target="../media/image280.png"/><Relationship Id="rId10" Type="http://schemas.openxmlformats.org/officeDocument/2006/relationships/image" Target="../media/image54.png"/><Relationship Id="rId4" Type="http://schemas.openxmlformats.org/officeDocument/2006/relationships/image" Target="../media/image270.png"/><Relationship Id="rId9" Type="http://schemas.openxmlformats.org/officeDocument/2006/relationships/image" Target="../media/image24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6" hidden="1">
            <a:extLst>
              <a:ext uri="{FF2B5EF4-FFF2-40B4-BE49-F238E27FC236}">
                <a16:creationId xmlns:a16="http://schemas.microsoft.com/office/drawing/2014/main" id="{B0E17E90-3C4E-4F37-9FA4-FC779C2508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6" name="Object 6" hidden="1">
                        <a:extLst>
                          <a:ext uri="{FF2B5EF4-FFF2-40B4-BE49-F238E27FC236}">
                            <a16:creationId xmlns:a16="http://schemas.microsoft.com/office/drawing/2014/main" id="{B0E17E90-3C4E-4F37-9FA4-FC779C250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EB9340E2-D95A-4545-81E1-3AD07AB3A01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4400" b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806FD97B-691F-4513-92F7-37A1FAC29B8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19926" y="2988141"/>
            <a:ext cx="11886146" cy="2523768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t" anchorCtr="0">
            <a:spAutoFit/>
          </a:bodyPr>
          <a:lstStyle/>
          <a:p>
            <a:r>
              <a:rPr lang="en-US" sz="4400" spc="-70" dirty="0"/>
              <a:t>How Dependence on Oil Revenues </a:t>
            </a:r>
            <a:br>
              <a:rPr lang="en-US" sz="4400" spc="-70" dirty="0"/>
            </a:br>
            <a:r>
              <a:rPr lang="en-US" sz="4400" spc="-70" dirty="0"/>
              <a:t>Impacts Public </a:t>
            </a:r>
            <a:r>
              <a:rPr lang="en-US" sz="4400" spc="-70"/>
              <a:t>Discount Rates</a:t>
            </a:r>
            <a:br>
              <a:rPr lang="en-US" sz="4400" spc="-70"/>
            </a:br>
            <a:br>
              <a:rPr lang="en-US" sz="4800" spc="-70" dirty="0"/>
            </a:br>
            <a:r>
              <a:rPr lang="en-US" sz="2800" spc="-70" dirty="0"/>
              <a:t>Fatih Karanfil and Axel Pierru</a:t>
            </a:r>
            <a:endParaRPr lang="en-US" sz="4400" spc="-7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19217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51FD9DA-198E-9CB2-345D-951617A3D39E}"/>
              </a:ext>
            </a:extLst>
          </p:cNvPr>
          <p:cNvCxnSpPr/>
          <p:nvPr/>
        </p:nvCxnSpPr>
        <p:spPr>
          <a:xfrm>
            <a:off x="526473" y="1198095"/>
            <a:ext cx="3472872" cy="0"/>
          </a:xfrm>
          <a:prstGeom prst="line">
            <a:avLst/>
          </a:prstGeom>
          <a:ln w="1905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84C9CC2E-7B95-C53B-CF0A-3BA838F943A4}"/>
              </a:ext>
            </a:extLst>
          </p:cNvPr>
          <p:cNvSpPr txBox="1"/>
          <p:nvPr/>
        </p:nvSpPr>
        <p:spPr>
          <a:xfrm>
            <a:off x="11813997" y="6532801"/>
            <a:ext cx="288585" cy="26668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fld id="{EFF4D7D2-636D-40D9-93B6-0CBAC255A5A5}" type="slidenum">
              <a:rPr lang="en-US" sz="1200" smtClean="0"/>
              <a:t>10</a:t>
            </a:fld>
            <a:endParaRPr lang="en-US" sz="12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55068CF5-16B8-F93C-0983-EE1AA6419181}"/>
                  </a:ext>
                </a:extLst>
              </p:cNvPr>
              <p:cNvSpPr txBox="1"/>
              <p:nvPr/>
            </p:nvSpPr>
            <p:spPr>
              <a:xfrm>
                <a:off x="688466" y="1512306"/>
                <a:ext cx="10532338" cy="957826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 w="6350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US" sz="2000" smtClean="0"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𝑁𝑃𝑉</m:t>
                      </m:r>
                      <m:r>
                        <a:rPr lang="en-US" sz="2000" smtClean="0"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=−</m:t>
                      </m:r>
                      <m:r>
                        <a:rPr lang="en-US" sz="2000" smtClean="0"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𝐼</m:t>
                      </m:r>
                      <m:r>
                        <a:rPr lang="en-US" sz="2000" smtClean="0"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+</m:t>
                      </m:r>
                      <m:nary>
                        <m:naryPr>
                          <m:chr m:val="∑"/>
                          <m:limLoc m:val="undOvr"/>
                          <m:ctrlPr>
                            <a:rPr lang="en-US" sz="2000" i="1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</m:ctrlPr>
                        </m:naryPr>
                        <m:sub>
                          <m:r>
                            <a:rPr lang="en-US" sz="2000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𝑡</m:t>
                          </m:r>
                          <m:r>
                            <a:rPr lang="en-US" sz="2000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US" sz="2000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𝑇</m:t>
                          </m:r>
                        </m:sup>
                        <m:e>
                          <m:sSup>
                            <m:sSupPr>
                              <m:ctrlPr>
                                <a:rPr lang="en-US" sz="2000" i="1"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2000"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US" sz="2000"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−</m:t>
                              </m:r>
                              <m:r>
                                <a:rPr lang="en-US" sz="2000"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𝑟𝑡</m:t>
                              </m:r>
                            </m:sup>
                          </m:sSup>
                          <m:sSub>
                            <m:sSubPr>
                              <m:ctrlPr>
                                <a:rPr lang="en-US" sz="2000" i="1"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</m:ctrlPr>
                            </m:sSubPr>
                            <m:e>
                              <m:sSub>
                                <m:sSubPr>
                                  <m:ctrlPr>
                                    <a:rPr lang="en-US" sz="2000" i="1"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2000"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𝛾</m:t>
                                  </m:r>
                                </m:e>
                                <m:sub>
                                  <m:r>
                                    <a:rPr lang="en-US" sz="2000"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en-US" sz="2000"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𝑃</m:t>
                              </m:r>
                            </m:e>
                            <m:sub>
                              <m:r>
                                <a:rPr lang="en-US" sz="2000"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sz="2000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𝑞</m:t>
                          </m:r>
                        </m:e>
                      </m:nary>
                    </m:oMath>
                  </m:oMathPara>
                </a14:m>
                <a:endParaRPr lang="en-US" sz="2000" dirty="0">
                  <a:latin typeface="Cambria" panose="02040503050406030204" pitchFamily="18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55068CF5-16B8-F93C-0983-EE1AA641918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8466" y="1512306"/>
                <a:ext cx="10532338" cy="957826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  <a:ln w="6350">
                <a:noFill/>
                <a:miter lim="800000"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955C0D73-2B5D-402E-AEFC-595293DF33A4}"/>
                  </a:ext>
                </a:extLst>
              </p:cNvPr>
              <p:cNvSpPr txBox="1"/>
              <p:nvPr/>
            </p:nvSpPr>
            <p:spPr>
              <a:xfrm>
                <a:off x="688466" y="2686311"/>
                <a:ext cx="10532338" cy="1323439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 w="6350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marL="342900" indent="-342900">
                  <a:buClr>
                    <a:schemeClr val="accent2"/>
                  </a:buClr>
                  <a:buFont typeface="Wingdings" panose="05000000000000000000" pitchFamily="2" charset="2"/>
                  <a:buChar char="§"/>
                </a:pPr>
                <a:r>
                  <a:rPr lang="en-US" sz="2000" dirty="0">
                    <a:latin typeface="Cambria" panose="020405030504060302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A project displaces 1M barrels per year for 20 years (</a:t>
                </a:r>
                <a14:m>
                  <m:oMath xmlns:m="http://schemas.openxmlformats.org/officeDocument/2006/math">
                    <m:r>
                      <a:rPr lang="en-US" sz="2000" b="0" i="1" smtClean="0"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𝑞</m:t>
                    </m:r>
                    <m:r>
                      <a:rPr lang="en-US" sz="2000" b="0" i="1" smtClean="0"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=1</m:t>
                    </m:r>
                    <m:r>
                      <a:rPr lang="en-US" sz="2000" b="0" i="1" smtClean="0"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𝑀</m:t>
                    </m:r>
                  </m:oMath>
                </a14:m>
                <a:r>
                  <a:rPr lang="en-US" sz="2000" dirty="0">
                    <a:latin typeface="Cambria" panose="020405030504060302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, </a:t>
                </a:r>
                <a14:m>
                  <m:oMath xmlns:m="http://schemas.openxmlformats.org/officeDocument/2006/math">
                    <m:r>
                      <a:rPr lang="en-US" sz="2000" b="0" i="1" smtClean="0"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𝑇</m:t>
                    </m:r>
                    <m:r>
                      <a:rPr lang="en-US" sz="2000" b="0" i="1" smtClean="0"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=20</m:t>
                    </m:r>
                  </m:oMath>
                </a14:m>
                <a:r>
                  <a:rPr lang="en-US" sz="2000" dirty="0">
                    <a:latin typeface="Cambria" panose="020405030504060302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)</a:t>
                </a:r>
              </a:p>
              <a:p>
                <a:pPr marL="342900" indent="-342900">
                  <a:buClr>
                    <a:schemeClr val="accent2"/>
                  </a:buClr>
                  <a:buFont typeface="Wingdings" panose="05000000000000000000" pitchFamily="2" charset="2"/>
                  <a:buChar char="§"/>
                </a:pPr>
                <a:r>
                  <a:rPr lang="en-US" sz="2000" dirty="0">
                    <a:latin typeface="Cambria" panose="020405030504060302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International price of oil is 80 $ per parrel in real $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b="0" i="1" smtClean="0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sz="2000" b="0" i="1" smtClean="0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𝑃</m:t>
                        </m:r>
                      </m:e>
                      <m:sub>
                        <m:r>
                          <a:rPr lang="en-US" sz="2000" b="0" i="1" smtClean="0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𝑡</m:t>
                        </m:r>
                      </m:sub>
                    </m:sSub>
                    <m:r>
                      <a:rPr lang="en-US" sz="2000" b="0" i="1" smtClean="0"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=80</m:t>
                    </m:r>
                  </m:oMath>
                </a14:m>
                <a:r>
                  <a:rPr lang="en-US" sz="2000" dirty="0">
                    <a:latin typeface="Cambria" panose="020405030504060302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)</a:t>
                </a:r>
              </a:p>
              <a:p>
                <a:pPr marL="342900" indent="-342900">
                  <a:buClr>
                    <a:schemeClr val="accent2"/>
                  </a:buClr>
                  <a:buFont typeface="Wingdings" panose="05000000000000000000" pitchFamily="2" charset="2"/>
                  <a:buChar char="§"/>
                </a:pPr>
                <a:r>
                  <a:rPr lang="en-US" sz="2000" dirty="0">
                    <a:latin typeface="Cambria" panose="020405030504060302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Opportunity cost is 80% of the international price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sz="2000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𝛾</m:t>
                        </m:r>
                      </m:e>
                      <m:sub>
                        <m:r>
                          <a:rPr lang="en-US" sz="2000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𝑡</m:t>
                        </m:r>
                      </m:sub>
                    </m:sSub>
                    <m:r>
                      <a:rPr lang="en-US" sz="2000" b="0" i="0" smtClean="0"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=0.8</m:t>
                    </m:r>
                  </m:oMath>
                </a14:m>
                <a:r>
                  <a:rPr lang="en-US" sz="2000" dirty="0">
                    <a:latin typeface="Cambria" panose="020405030504060302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)</a:t>
                </a:r>
              </a:p>
              <a:p>
                <a:pPr marL="342900" indent="-342900">
                  <a:buClr>
                    <a:schemeClr val="accent2"/>
                  </a:buClr>
                  <a:buFont typeface="Wingdings" panose="05000000000000000000" pitchFamily="2" charset="2"/>
                  <a:buChar char="§"/>
                </a:pPr>
                <a:r>
                  <a:rPr lang="en-US" sz="2000" dirty="0">
                    <a:latin typeface="Cambria" panose="020405030504060302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Risk-adjusted discount rate is 4.5% (</a:t>
                </a:r>
                <a14:m>
                  <m:oMath xmlns:m="http://schemas.openxmlformats.org/officeDocument/2006/math">
                    <m:r>
                      <a:rPr lang="en-US" sz="2000"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𝑟</m:t>
                    </m:r>
                  </m:oMath>
                </a14:m>
                <a:r>
                  <a:rPr lang="en-US" sz="2000" dirty="0">
                    <a:latin typeface="Cambria" panose="020405030504060302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=0.045)</a:t>
                </a:r>
              </a:p>
            </p:txBody>
          </p:sp>
        </mc:Choice>
        <mc:Fallback xmlns="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955C0D73-2B5D-402E-AEFC-595293DF33A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8466" y="2686311"/>
                <a:ext cx="10532338" cy="1323439"/>
              </a:xfrm>
              <a:prstGeom prst="rect">
                <a:avLst/>
              </a:prstGeom>
              <a:blipFill>
                <a:blip r:embed="rId4"/>
                <a:stretch>
                  <a:fillRect l="-521" t="-2765" b="-7373"/>
                </a:stretch>
              </a:blipFill>
              <a:ln w="6350">
                <a:noFill/>
                <a:miter lim="800000"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C079E7AE-8231-0994-2772-607C351F97B1}"/>
                  </a:ext>
                </a:extLst>
              </p:cNvPr>
              <p:cNvSpPr txBox="1"/>
              <p:nvPr/>
            </p:nvSpPr>
            <p:spPr>
              <a:xfrm>
                <a:off x="688466" y="4225929"/>
                <a:ext cx="10532338" cy="957826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 w="6350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nary>
                        <m:naryPr>
                          <m:chr m:val="∑"/>
                          <m:limLoc m:val="undOvr"/>
                          <m:ctrlPr>
                            <a:rPr lang="en-US" sz="2000" i="1" smtClean="0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</m:ctrlPr>
                        </m:naryPr>
                        <m:sub>
                          <m:r>
                            <a:rPr lang="en-US" sz="2000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𝑡</m:t>
                          </m:r>
                          <m:r>
                            <a:rPr lang="en-US" sz="2000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US" sz="2000" b="0" i="0" smtClean="0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20</m:t>
                          </m:r>
                        </m:sup>
                        <m:e>
                          <m:sSup>
                            <m:sSupPr>
                              <m:ctrlPr>
                                <a:rPr lang="en-US" sz="2000" i="1"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2000"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US" sz="2000"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−</m:t>
                              </m:r>
                              <m:r>
                                <a:rPr lang="en-US" sz="2000" b="0" i="0" smtClean="0"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0.045</m:t>
                              </m:r>
                              <m:r>
                                <a:rPr lang="en-US" sz="2000"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𝑡</m:t>
                              </m:r>
                            </m:sup>
                          </m:sSup>
                          <m:r>
                            <a:rPr lang="en-US" sz="20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×</m:t>
                          </m:r>
                          <m:r>
                            <a:rPr lang="en-US" sz="2000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0.8</m:t>
                          </m:r>
                          <m:r>
                            <a:rPr lang="en-US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×</m:t>
                          </m:r>
                          <m:r>
                            <a:rPr lang="en-US" sz="200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80</m:t>
                          </m:r>
                          <m:r>
                            <a:rPr lang="en-US" sz="20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×</m:t>
                          </m:r>
                          <m:r>
                            <a:rPr lang="en-US" sz="2000" b="0" i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1000000</m:t>
                          </m:r>
                          <m: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≅</m:t>
                          </m:r>
                          <m:r>
                            <a:rPr lang="en-US" sz="2000" b="0" i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825</m:t>
                          </m:r>
                          <m:r>
                            <m:rPr>
                              <m:sty m:val="p"/>
                            </m:rPr>
                            <a:rPr lang="en-US" sz="2000" b="0" i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M</m:t>
                          </m:r>
                          <m:r>
                            <a:rPr lang="en-US" sz="2000" b="0" i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 $</m:t>
                          </m:r>
                        </m:e>
                      </m:nary>
                    </m:oMath>
                  </m:oMathPara>
                </a14:m>
                <a:endParaRPr lang="en-US" sz="2000" dirty="0">
                  <a:latin typeface="Cambria" panose="02040503050406030204" pitchFamily="18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C079E7AE-8231-0994-2772-607C351F97B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8466" y="4225929"/>
                <a:ext cx="10532338" cy="957826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  <a:ln w="6350">
                <a:noFill/>
                <a:miter lim="800000"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98BC903D-7648-ADBF-4F1C-32CE59514152}"/>
                  </a:ext>
                </a:extLst>
              </p:cNvPr>
              <p:cNvSpPr txBox="1"/>
              <p:nvPr/>
            </p:nvSpPr>
            <p:spPr>
              <a:xfrm>
                <a:off x="688466" y="5399934"/>
                <a:ext cx="10532338" cy="707886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 w="6350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Times New Roman" panose="02020603050405020304" pitchFamily="18" charset="0"/>
                        </a:rPr>
                        <m:t>𝐼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Times New Roman" panose="02020603050405020304" pitchFamily="18" charset="0"/>
                        </a:rPr>
                        <m:t>≤</m:t>
                      </m:r>
                      <m:r>
                        <a:rPr lang="en-US" sz="200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Times New Roman" panose="02020603050405020304" pitchFamily="18" charset="0"/>
                        </a:rPr>
                        <m:t>825</m:t>
                      </m:r>
                      <m:r>
                        <m:rPr>
                          <m:sty m:val="p"/>
                        </m:rPr>
                        <a:rPr lang="en-US" sz="200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Times New Roman" panose="02020603050405020304" pitchFamily="18" charset="0"/>
                        </a:rPr>
                        <m:t>M</m:t>
                      </m:r>
                      <m:r>
                        <a:rPr lang="en-US" sz="200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Times New Roman" panose="02020603050405020304" pitchFamily="18" charset="0"/>
                        </a:rPr>
                        <m:t> $</m:t>
                      </m:r>
                    </m:oMath>
                  </m:oMathPara>
                </a14:m>
                <a:endParaRPr lang="en-US" sz="2000" dirty="0">
                  <a:latin typeface="Cambria" panose="02040503050406030204" pitchFamily="18" charset="0"/>
                  <a:ea typeface="Cambria Math" panose="02040503050406030204" pitchFamily="18" charset="0"/>
                  <a:cs typeface="Times New Roman" panose="020206030504050203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𝑁𝑃𝑉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Times New Roman" panose="02020603050405020304" pitchFamily="18" charset="0"/>
                        </a:rPr>
                        <m:t>≥0</m:t>
                      </m:r>
                    </m:oMath>
                  </m:oMathPara>
                </a14:m>
                <a:endParaRPr lang="en-US" sz="2000" dirty="0">
                  <a:latin typeface="Cambria" panose="02040503050406030204" pitchFamily="18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98BC903D-7648-ADBF-4F1C-32CE5951415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8466" y="5399934"/>
                <a:ext cx="10532338" cy="707886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  <a:ln w="6350">
                <a:noFill/>
                <a:miter lim="800000"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object 2">
            <a:extLst>
              <a:ext uri="{FF2B5EF4-FFF2-40B4-BE49-F238E27FC236}">
                <a16:creationId xmlns:a16="http://schemas.microsoft.com/office/drawing/2014/main" id="{47D188C5-4358-B6CF-CD58-9D81D3EF01D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9368" y="223718"/>
            <a:ext cx="12122632" cy="87459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800" spc="20" dirty="0">
                <a:solidFill>
                  <a:schemeClr val="accent1"/>
                </a:solidFill>
              </a:rPr>
              <a:t>How our results materially impact the public evaluation of future cash flows:</a:t>
            </a:r>
            <a:br>
              <a:rPr lang="en-US" sz="2800" spc="20" dirty="0">
                <a:solidFill>
                  <a:schemeClr val="accent1"/>
                </a:solidFill>
              </a:rPr>
            </a:br>
            <a:r>
              <a:rPr lang="en-US" sz="2800" spc="20" dirty="0">
                <a:solidFill>
                  <a:schemeClr val="accent1"/>
                </a:solidFill>
              </a:rPr>
              <a:t>A hypothetical example</a:t>
            </a:r>
          </a:p>
        </p:txBody>
      </p:sp>
    </p:spTree>
    <p:extLst>
      <p:ext uri="{BB962C8B-B14F-4D97-AF65-F5344CB8AC3E}">
        <p14:creationId xmlns:p14="http://schemas.microsoft.com/office/powerpoint/2010/main" val="29313542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3" grpId="0" animBg="1"/>
      <p:bldP spid="7" grpId="0" animBg="1"/>
      <p:bldP spid="9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316B8079-4A76-825B-BA7C-2BAA5881359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9368" y="223718"/>
            <a:ext cx="12033214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800" spc="20" dirty="0">
                <a:solidFill>
                  <a:schemeClr val="accent1"/>
                </a:solidFill>
              </a:rPr>
              <a:t>How our results materially impact the public evaluation of future cash flow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51FD9DA-198E-9CB2-345D-951617A3D39E}"/>
              </a:ext>
            </a:extLst>
          </p:cNvPr>
          <p:cNvCxnSpPr/>
          <p:nvPr/>
        </p:nvCxnSpPr>
        <p:spPr>
          <a:xfrm>
            <a:off x="526473" y="805537"/>
            <a:ext cx="3472872" cy="0"/>
          </a:xfrm>
          <a:prstGeom prst="line">
            <a:avLst/>
          </a:prstGeom>
          <a:ln w="1905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587E219F-0BFC-421B-5072-FF8FB190F363}"/>
              </a:ext>
            </a:extLst>
          </p:cNvPr>
          <p:cNvSpPr txBox="1"/>
          <p:nvPr/>
        </p:nvSpPr>
        <p:spPr>
          <a:xfrm>
            <a:off x="11813997" y="6532801"/>
            <a:ext cx="288585" cy="26668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fld id="{EFF4D7D2-636D-40D9-93B6-0CBAC255A5A5}" type="slidenum">
              <a:rPr lang="en-US" sz="1200" smtClean="0"/>
              <a:t>11</a:t>
            </a:fld>
            <a:endParaRPr lang="en-US" sz="12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F37FA3E-0FA5-35D6-C415-8A2F26C131F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89" y="831518"/>
            <a:ext cx="10291897" cy="551954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730C01E-E040-333D-A388-A31912672CE6}"/>
              </a:ext>
            </a:extLst>
          </p:cNvPr>
          <p:cNvSpPr txBox="1"/>
          <p:nvPr/>
        </p:nvSpPr>
        <p:spPr>
          <a:xfrm>
            <a:off x="7508631" y="1317852"/>
            <a:ext cx="3723671" cy="62036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6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2023-2040 period with real oil prices </a:t>
            </a:r>
            <a:br>
              <a:rPr lang="en-US" sz="16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</a:br>
            <a:r>
              <a:rPr lang="en-US" sz="16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from Stated Policies Scenario </a:t>
            </a:r>
            <a:r>
              <a:rPr lang="en-US" sz="12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(WEO; IEA, 2022)</a:t>
            </a:r>
            <a:endParaRPr lang="en-US" sz="1400" dirty="0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6534E198-25FE-E445-EBE4-C37703AEE1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9098697"/>
              </p:ext>
            </p:extLst>
          </p:nvPr>
        </p:nvGraphicFramePr>
        <p:xfrm>
          <a:off x="7516368" y="4442190"/>
          <a:ext cx="4586214" cy="1854200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970564">
                  <a:extLst>
                    <a:ext uri="{9D8B030D-6E8A-4147-A177-3AD203B41FA5}">
                      <a16:colId xmlns:a16="http://schemas.microsoft.com/office/drawing/2014/main" val="1806916983"/>
                    </a:ext>
                  </a:extLst>
                </a:gridCol>
                <a:gridCol w="2830811">
                  <a:extLst>
                    <a:ext uri="{9D8B030D-6E8A-4147-A177-3AD203B41FA5}">
                      <a16:colId xmlns:a16="http://schemas.microsoft.com/office/drawing/2014/main" val="445278643"/>
                    </a:ext>
                  </a:extLst>
                </a:gridCol>
                <a:gridCol w="784839">
                  <a:extLst>
                    <a:ext uri="{9D8B030D-6E8A-4147-A177-3AD203B41FA5}">
                      <a16:colId xmlns:a16="http://schemas.microsoft.com/office/drawing/2014/main" val="3958008603"/>
                    </a:ext>
                  </a:extLst>
                </a:gridCol>
              </a:tblGrid>
              <a:tr h="370840">
                <a:tc rowSpan="3">
                  <a:txBody>
                    <a:bodyPr/>
                    <a:lstStyle/>
                    <a:p>
                      <a:r>
                        <a:rPr lang="en-US" sz="1600" b="1" dirty="0"/>
                        <a:t>Average individual impact</a:t>
                      </a:r>
                    </a:p>
                  </a:txBody>
                  <a:tcPr vert="vert27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Opportunity cost</a:t>
                      </a:r>
                      <a:endParaRPr lang="en-US" sz="1600" b="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/>
                        <a:t>6%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8371514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Risk premium</a:t>
                      </a:r>
                      <a:endParaRPr lang="en-US" sz="1600" b="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/>
                        <a:t>10.5%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80886067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Riskless discount rate </a:t>
                      </a:r>
                      <a:endParaRPr lang="en-US" sz="16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18.5%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384789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dirty="0"/>
                        <a:t>Avg. Cumulative impact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dirty="0"/>
                        <a:t>35%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440238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dirty="0"/>
                        <a:t>Avg. Cumulative impact (GCC)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dirty="0"/>
                        <a:t>49%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032773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687530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D29C116D-A733-12A8-21D0-2AF58F9F0A4E}"/>
              </a:ext>
            </a:extLst>
          </p:cNvPr>
          <p:cNvSpPr/>
          <p:nvPr/>
        </p:nvSpPr>
        <p:spPr>
          <a:xfrm>
            <a:off x="2532346" y="2676082"/>
            <a:ext cx="7421789" cy="1334504"/>
          </a:xfrm>
          <a:custGeom>
            <a:avLst/>
            <a:gdLst>
              <a:gd name="connsiteX0" fmla="*/ 0 w 7421789"/>
              <a:gd name="connsiteY0" fmla="*/ 0 h 1334502"/>
              <a:gd name="connsiteX1" fmla="*/ 6754538 w 7421789"/>
              <a:gd name="connsiteY1" fmla="*/ 0 h 1334502"/>
              <a:gd name="connsiteX2" fmla="*/ 7421789 w 7421789"/>
              <a:gd name="connsiteY2" fmla="*/ 667251 h 1334502"/>
              <a:gd name="connsiteX3" fmla="*/ 6754538 w 7421789"/>
              <a:gd name="connsiteY3" fmla="*/ 1334502 h 1334502"/>
              <a:gd name="connsiteX4" fmla="*/ 0 w 7421789"/>
              <a:gd name="connsiteY4" fmla="*/ 1334502 h 1334502"/>
              <a:gd name="connsiteX5" fmla="*/ 0 w 7421789"/>
              <a:gd name="connsiteY5" fmla="*/ 0 h 1334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21789" h="1334502">
                <a:moveTo>
                  <a:pt x="7421789" y="1334501"/>
                </a:moveTo>
                <a:lnTo>
                  <a:pt x="667251" y="1334501"/>
                </a:lnTo>
                <a:lnTo>
                  <a:pt x="0" y="667251"/>
                </a:lnTo>
                <a:lnTo>
                  <a:pt x="667251" y="1"/>
                </a:lnTo>
                <a:lnTo>
                  <a:pt x="7421789" y="1"/>
                </a:lnTo>
                <a:lnTo>
                  <a:pt x="7421789" y="1334501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22103" tIns="80011" rIns="149352" bIns="80011" numCol="1" spcCol="1270" anchor="ctr" anchorCtr="0">
            <a:noAutofit/>
          </a:bodyPr>
          <a:lstStyle/>
          <a:p>
            <a:pPr marL="0" lvl="0" indent="0" algn="ctr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100" kern="1200" dirty="0"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They enable governments to perform more accurate cost-benefit analyses, ensuring that decisions made enhance welfare and economic development</a:t>
            </a:r>
            <a:endParaRPr lang="en-US" sz="2100" kern="1200" dirty="0"/>
          </a:p>
        </p:txBody>
      </p:sp>
      <p:sp>
        <p:nvSpPr>
          <p:cNvPr id="5" name="object 2">
            <a:extLst>
              <a:ext uri="{FF2B5EF4-FFF2-40B4-BE49-F238E27FC236}">
                <a16:creationId xmlns:a16="http://schemas.microsoft.com/office/drawing/2014/main" id="{316B8079-4A76-825B-BA7C-2BAA5881359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23342" y="223718"/>
            <a:ext cx="7943141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800" spc="20" dirty="0">
                <a:solidFill>
                  <a:schemeClr val="accent1"/>
                </a:solidFill>
              </a:rPr>
              <a:t>Why it matters?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51FD9DA-198E-9CB2-345D-951617A3D39E}"/>
              </a:ext>
            </a:extLst>
          </p:cNvPr>
          <p:cNvCxnSpPr/>
          <p:nvPr/>
        </p:nvCxnSpPr>
        <p:spPr>
          <a:xfrm>
            <a:off x="526473" y="804589"/>
            <a:ext cx="3472872" cy="0"/>
          </a:xfrm>
          <a:prstGeom prst="line">
            <a:avLst/>
          </a:prstGeom>
          <a:ln w="1905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4BE48673-664C-30A4-1E2C-32D03D20A8DB}"/>
              </a:ext>
            </a:extLst>
          </p:cNvPr>
          <p:cNvSpPr txBox="1"/>
          <p:nvPr/>
        </p:nvSpPr>
        <p:spPr>
          <a:xfrm>
            <a:off x="11813997" y="6532801"/>
            <a:ext cx="288585" cy="26668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fld id="{EFF4D7D2-636D-40D9-93B6-0CBAC255A5A5}" type="slidenum">
              <a:rPr lang="en-US" sz="1200" smtClean="0"/>
              <a:t>12</a:t>
            </a:fld>
            <a:endParaRPr lang="en-US" sz="1200" dirty="0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3D95353E-5F29-1396-0CE4-1F565FF7AF2F}"/>
              </a:ext>
            </a:extLst>
          </p:cNvPr>
          <p:cNvSpPr/>
          <p:nvPr/>
        </p:nvSpPr>
        <p:spPr>
          <a:xfrm>
            <a:off x="2532346" y="943221"/>
            <a:ext cx="7421789" cy="1334504"/>
          </a:xfrm>
          <a:custGeom>
            <a:avLst/>
            <a:gdLst>
              <a:gd name="connsiteX0" fmla="*/ 0 w 7421789"/>
              <a:gd name="connsiteY0" fmla="*/ 0 h 1334502"/>
              <a:gd name="connsiteX1" fmla="*/ 6754538 w 7421789"/>
              <a:gd name="connsiteY1" fmla="*/ 0 h 1334502"/>
              <a:gd name="connsiteX2" fmla="*/ 7421789 w 7421789"/>
              <a:gd name="connsiteY2" fmla="*/ 667251 h 1334502"/>
              <a:gd name="connsiteX3" fmla="*/ 6754538 w 7421789"/>
              <a:gd name="connsiteY3" fmla="*/ 1334502 h 1334502"/>
              <a:gd name="connsiteX4" fmla="*/ 0 w 7421789"/>
              <a:gd name="connsiteY4" fmla="*/ 1334502 h 1334502"/>
              <a:gd name="connsiteX5" fmla="*/ 0 w 7421789"/>
              <a:gd name="connsiteY5" fmla="*/ 0 h 1334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21789" h="1334502">
                <a:moveTo>
                  <a:pt x="7421789" y="1334501"/>
                </a:moveTo>
                <a:lnTo>
                  <a:pt x="667251" y="1334501"/>
                </a:lnTo>
                <a:lnTo>
                  <a:pt x="0" y="667251"/>
                </a:lnTo>
                <a:lnTo>
                  <a:pt x="667251" y="1"/>
                </a:lnTo>
                <a:lnTo>
                  <a:pt x="7421789" y="1"/>
                </a:lnTo>
                <a:lnTo>
                  <a:pt x="7421789" y="1334501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22103" tIns="80011" rIns="149352" bIns="80010" numCol="1" spcCol="1270" anchor="ctr" anchorCtr="0">
            <a:noAutofit/>
          </a:bodyPr>
          <a:lstStyle/>
          <a:p>
            <a:pPr marL="0" lvl="0" indent="0" algn="ctr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100" kern="1200" dirty="0"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Our estimates are useful to policymakers in oil-rich countries considering investment projects or policies freeing oil from domestic consumption or using oil as an input </a:t>
            </a:r>
            <a:endParaRPr lang="en-US" sz="2100" kern="1200" dirty="0"/>
          </a:p>
        </p:txBody>
      </p:sp>
      <p:sp>
        <p:nvSpPr>
          <p:cNvPr id="21" name="Oval 20" descr="Oil refinery against blue sky">
            <a:extLst>
              <a:ext uri="{FF2B5EF4-FFF2-40B4-BE49-F238E27FC236}">
                <a16:creationId xmlns:a16="http://schemas.microsoft.com/office/drawing/2014/main" id="{A59F257D-31D9-838A-DD7B-E8B54C97F585}"/>
              </a:ext>
            </a:extLst>
          </p:cNvPr>
          <p:cNvSpPr/>
          <p:nvPr/>
        </p:nvSpPr>
        <p:spPr>
          <a:xfrm>
            <a:off x="1865095" y="943222"/>
            <a:ext cx="1334502" cy="1334502"/>
          </a:xfrm>
          <a:prstGeom prst="ellipse">
            <a:avLst/>
          </a:prstGeom>
          <a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39000" r="-39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AF46145F-1B2C-A2E6-11E0-BC428C78B280}"/>
              </a:ext>
            </a:extLst>
          </p:cNvPr>
          <p:cNvSpPr/>
          <p:nvPr/>
        </p:nvSpPr>
        <p:spPr>
          <a:xfrm>
            <a:off x="2532346" y="4408944"/>
            <a:ext cx="7421789" cy="1334502"/>
          </a:xfrm>
          <a:custGeom>
            <a:avLst/>
            <a:gdLst>
              <a:gd name="connsiteX0" fmla="*/ 0 w 7421789"/>
              <a:gd name="connsiteY0" fmla="*/ 0 h 1334502"/>
              <a:gd name="connsiteX1" fmla="*/ 6754538 w 7421789"/>
              <a:gd name="connsiteY1" fmla="*/ 0 h 1334502"/>
              <a:gd name="connsiteX2" fmla="*/ 7421789 w 7421789"/>
              <a:gd name="connsiteY2" fmla="*/ 667251 h 1334502"/>
              <a:gd name="connsiteX3" fmla="*/ 6754538 w 7421789"/>
              <a:gd name="connsiteY3" fmla="*/ 1334502 h 1334502"/>
              <a:gd name="connsiteX4" fmla="*/ 0 w 7421789"/>
              <a:gd name="connsiteY4" fmla="*/ 1334502 h 1334502"/>
              <a:gd name="connsiteX5" fmla="*/ 0 w 7421789"/>
              <a:gd name="connsiteY5" fmla="*/ 0 h 1334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21789" h="1334502">
                <a:moveTo>
                  <a:pt x="7421789" y="1334501"/>
                </a:moveTo>
                <a:lnTo>
                  <a:pt x="667251" y="1334501"/>
                </a:lnTo>
                <a:lnTo>
                  <a:pt x="0" y="667251"/>
                </a:lnTo>
                <a:lnTo>
                  <a:pt x="667251" y="1"/>
                </a:lnTo>
                <a:lnTo>
                  <a:pt x="7421789" y="1"/>
                </a:lnTo>
                <a:lnTo>
                  <a:pt x="7421789" y="1334501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22103" tIns="80010" rIns="149352" bIns="80010" numCol="1" spcCol="1270" anchor="ctr" anchorCtr="0">
            <a:noAutofit/>
          </a:bodyPr>
          <a:lstStyle/>
          <a:p>
            <a:pPr marL="0" lvl="0" indent="0" algn="ctr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100" kern="1200" dirty="0"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This is especially critical for oil-exporting countries pursuing domestic energy transitions and industrial development</a:t>
            </a:r>
            <a:endParaRPr lang="en-US" sz="2100" kern="1200" dirty="0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7763DBAC-A4EA-5E40-9851-11D79C850655}"/>
              </a:ext>
            </a:extLst>
          </p:cNvPr>
          <p:cNvSpPr/>
          <p:nvPr/>
        </p:nvSpPr>
        <p:spPr>
          <a:xfrm>
            <a:off x="1865095" y="4408944"/>
            <a:ext cx="1334502" cy="1334502"/>
          </a:xfrm>
          <a:prstGeom prst="ellipse">
            <a:avLst/>
          </a:prstGeom>
          <a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39000" r="-39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EC72E3A5-8F23-B777-1623-2B2D01B40837}"/>
              </a:ext>
            </a:extLst>
          </p:cNvPr>
          <p:cNvSpPr/>
          <p:nvPr/>
        </p:nvSpPr>
        <p:spPr>
          <a:xfrm>
            <a:off x="1809741" y="2676082"/>
            <a:ext cx="1445209" cy="1334504"/>
          </a:xfrm>
          <a:prstGeom prst="ellipse">
            <a:avLst/>
          </a:prstGeom>
          <a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17000" r="-17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8623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20" grpId="0" animBg="1"/>
      <p:bldP spid="21" grpId="0" animBg="1"/>
      <p:bldP spid="30" grpId="0" animBg="1"/>
      <p:bldP spid="31" grpId="0" animBg="1"/>
      <p:bldP spid="27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6" hidden="1">
            <a:extLst>
              <a:ext uri="{FF2B5EF4-FFF2-40B4-BE49-F238E27FC236}">
                <a16:creationId xmlns:a16="http://schemas.microsoft.com/office/drawing/2014/main" id="{B0E17E90-3C4E-4F37-9FA4-FC779C2508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6" name="Object 6" hidden="1">
                        <a:extLst>
                          <a:ext uri="{FF2B5EF4-FFF2-40B4-BE49-F238E27FC236}">
                            <a16:creationId xmlns:a16="http://schemas.microsoft.com/office/drawing/2014/main" id="{B0E17E90-3C4E-4F37-9FA4-FC779C250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EB9340E2-D95A-4545-81E1-3AD07AB3A01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4400" b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806FD97B-691F-4513-92F7-37A1FAC29B8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1942" y="2847633"/>
            <a:ext cx="8205978" cy="677108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t" anchorCtr="0">
            <a:spAutoFit/>
          </a:bodyPr>
          <a:lstStyle/>
          <a:p>
            <a:r>
              <a:rPr lang="en-US" dirty="0"/>
              <a:t>Thank you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848818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9EDEA1CD-3155-083E-8F3F-D7866D28DAD6}"/>
              </a:ext>
            </a:extLst>
          </p:cNvPr>
          <p:cNvSpPr/>
          <p:nvPr/>
        </p:nvSpPr>
        <p:spPr>
          <a:xfrm>
            <a:off x="6265618" y="1510778"/>
            <a:ext cx="5470468" cy="3237794"/>
          </a:xfrm>
          <a:custGeom>
            <a:avLst/>
            <a:gdLst>
              <a:gd name="connsiteX0" fmla="*/ 0 w 4460493"/>
              <a:gd name="connsiteY0" fmla="*/ 201589 h 2015889"/>
              <a:gd name="connsiteX1" fmla="*/ 201589 w 4460493"/>
              <a:gd name="connsiteY1" fmla="*/ 0 h 2015889"/>
              <a:gd name="connsiteX2" fmla="*/ 4258904 w 4460493"/>
              <a:gd name="connsiteY2" fmla="*/ 0 h 2015889"/>
              <a:gd name="connsiteX3" fmla="*/ 4460493 w 4460493"/>
              <a:gd name="connsiteY3" fmla="*/ 201589 h 2015889"/>
              <a:gd name="connsiteX4" fmla="*/ 4460493 w 4460493"/>
              <a:gd name="connsiteY4" fmla="*/ 1814300 h 2015889"/>
              <a:gd name="connsiteX5" fmla="*/ 4258904 w 4460493"/>
              <a:gd name="connsiteY5" fmla="*/ 2015889 h 2015889"/>
              <a:gd name="connsiteX6" fmla="*/ 201589 w 4460493"/>
              <a:gd name="connsiteY6" fmla="*/ 2015889 h 2015889"/>
              <a:gd name="connsiteX7" fmla="*/ 0 w 4460493"/>
              <a:gd name="connsiteY7" fmla="*/ 1814300 h 2015889"/>
              <a:gd name="connsiteX8" fmla="*/ 0 w 4460493"/>
              <a:gd name="connsiteY8" fmla="*/ 201589 h 2015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0493" h="2015889">
                <a:moveTo>
                  <a:pt x="0" y="201589"/>
                </a:moveTo>
                <a:cubicBezTo>
                  <a:pt x="0" y="90254"/>
                  <a:pt x="90254" y="0"/>
                  <a:pt x="201589" y="0"/>
                </a:cubicBezTo>
                <a:lnTo>
                  <a:pt x="4258904" y="0"/>
                </a:lnTo>
                <a:cubicBezTo>
                  <a:pt x="4370239" y="0"/>
                  <a:pt x="4460493" y="90254"/>
                  <a:pt x="4460493" y="201589"/>
                </a:cubicBezTo>
                <a:lnTo>
                  <a:pt x="4460493" y="1814300"/>
                </a:lnTo>
                <a:cubicBezTo>
                  <a:pt x="4460493" y="1925635"/>
                  <a:pt x="4370239" y="2015889"/>
                  <a:pt x="4258904" y="2015889"/>
                </a:cubicBezTo>
                <a:lnTo>
                  <a:pt x="201589" y="2015889"/>
                </a:lnTo>
                <a:cubicBezTo>
                  <a:pt x="90254" y="2015889"/>
                  <a:pt x="0" y="1925635"/>
                  <a:pt x="0" y="1814300"/>
                </a:cubicBezTo>
                <a:lnTo>
                  <a:pt x="0" y="201589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06680" tIns="913035" rIns="106680" bIns="509859" numCol="1" spcCol="1270" anchor="ctr" anchorCtr="0">
            <a:noAutofit/>
          </a:bodyPr>
          <a:lstStyle/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500" kern="1200" dirty="0"/>
          </a:p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500" dirty="0"/>
          </a:p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500" kern="1200" dirty="0"/>
          </a:p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500" dirty="0"/>
          </a:p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500" kern="1200" dirty="0"/>
          </a:p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500" kern="1200" dirty="0"/>
          </a:p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200" kern="1200" dirty="0"/>
          </a:p>
          <a:p>
            <a:pPr lvl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kern="1200" dirty="0"/>
              <a:t>Karanfil and Pierru (Accepted, </a:t>
            </a:r>
            <a:r>
              <a:rPr lang="en-US" i="1" dirty="0"/>
              <a:t>The Energy Journal</a:t>
            </a:r>
            <a:r>
              <a:rPr lang="en-US" kern="1200" dirty="0"/>
              <a:t>):</a:t>
            </a:r>
          </a:p>
          <a:p>
            <a:pPr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kern="1200" dirty="0"/>
              <a:t>“Energy Transition in Oil-Dependent Economies: Public discount rates for investment project evaluation”</a:t>
            </a:r>
          </a:p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500" kern="1200" dirty="0"/>
          </a:p>
        </p:txBody>
      </p:sp>
      <p:sp>
        <p:nvSpPr>
          <p:cNvPr id="5" name="object 2">
            <a:extLst>
              <a:ext uri="{FF2B5EF4-FFF2-40B4-BE49-F238E27FC236}">
                <a16:creationId xmlns:a16="http://schemas.microsoft.com/office/drawing/2014/main" id="{316B8079-4A76-825B-BA7C-2BAA5881359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23342" y="223718"/>
            <a:ext cx="7943141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800" spc="20" dirty="0">
                <a:solidFill>
                  <a:schemeClr val="accent1"/>
                </a:solidFill>
              </a:rPr>
              <a:t>Background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51FD9DA-198E-9CB2-345D-951617A3D39E}"/>
              </a:ext>
            </a:extLst>
          </p:cNvPr>
          <p:cNvCxnSpPr/>
          <p:nvPr/>
        </p:nvCxnSpPr>
        <p:spPr>
          <a:xfrm>
            <a:off x="526473" y="804589"/>
            <a:ext cx="3472872" cy="0"/>
          </a:xfrm>
          <a:prstGeom prst="line">
            <a:avLst/>
          </a:prstGeom>
          <a:ln w="1905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A2DC213B-D616-D4BC-3AAB-8D49A884A622}"/>
              </a:ext>
            </a:extLst>
          </p:cNvPr>
          <p:cNvSpPr/>
          <p:nvPr/>
        </p:nvSpPr>
        <p:spPr>
          <a:xfrm>
            <a:off x="336603" y="1510778"/>
            <a:ext cx="5470468" cy="3237794"/>
          </a:xfrm>
          <a:custGeom>
            <a:avLst/>
            <a:gdLst>
              <a:gd name="connsiteX0" fmla="*/ 0 w 4460493"/>
              <a:gd name="connsiteY0" fmla="*/ 201589 h 2015889"/>
              <a:gd name="connsiteX1" fmla="*/ 201589 w 4460493"/>
              <a:gd name="connsiteY1" fmla="*/ 0 h 2015889"/>
              <a:gd name="connsiteX2" fmla="*/ 4258904 w 4460493"/>
              <a:gd name="connsiteY2" fmla="*/ 0 h 2015889"/>
              <a:gd name="connsiteX3" fmla="*/ 4460493 w 4460493"/>
              <a:gd name="connsiteY3" fmla="*/ 201589 h 2015889"/>
              <a:gd name="connsiteX4" fmla="*/ 4460493 w 4460493"/>
              <a:gd name="connsiteY4" fmla="*/ 1814300 h 2015889"/>
              <a:gd name="connsiteX5" fmla="*/ 4258904 w 4460493"/>
              <a:gd name="connsiteY5" fmla="*/ 2015889 h 2015889"/>
              <a:gd name="connsiteX6" fmla="*/ 201589 w 4460493"/>
              <a:gd name="connsiteY6" fmla="*/ 2015889 h 2015889"/>
              <a:gd name="connsiteX7" fmla="*/ 0 w 4460493"/>
              <a:gd name="connsiteY7" fmla="*/ 1814300 h 2015889"/>
              <a:gd name="connsiteX8" fmla="*/ 0 w 4460493"/>
              <a:gd name="connsiteY8" fmla="*/ 201589 h 2015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0493" h="2015889">
                <a:moveTo>
                  <a:pt x="0" y="201589"/>
                </a:moveTo>
                <a:cubicBezTo>
                  <a:pt x="0" y="90254"/>
                  <a:pt x="90254" y="0"/>
                  <a:pt x="201589" y="0"/>
                </a:cubicBezTo>
                <a:lnTo>
                  <a:pt x="4258904" y="0"/>
                </a:lnTo>
                <a:cubicBezTo>
                  <a:pt x="4370239" y="0"/>
                  <a:pt x="4460493" y="90254"/>
                  <a:pt x="4460493" y="201589"/>
                </a:cubicBezTo>
                <a:lnTo>
                  <a:pt x="4460493" y="1814300"/>
                </a:lnTo>
                <a:cubicBezTo>
                  <a:pt x="4460493" y="1925635"/>
                  <a:pt x="4370239" y="2015889"/>
                  <a:pt x="4258904" y="2015889"/>
                </a:cubicBezTo>
                <a:lnTo>
                  <a:pt x="201589" y="2015889"/>
                </a:lnTo>
                <a:cubicBezTo>
                  <a:pt x="90254" y="2015889"/>
                  <a:pt x="0" y="1925635"/>
                  <a:pt x="0" y="1814300"/>
                </a:cubicBezTo>
                <a:lnTo>
                  <a:pt x="0" y="201589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06680" tIns="913035" rIns="106680" bIns="509859" numCol="1" spcCol="1270" anchor="ctr" anchorCtr="0">
            <a:noAutofit/>
          </a:bodyPr>
          <a:lstStyle/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500" kern="1200" dirty="0"/>
          </a:p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500" dirty="0"/>
          </a:p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500" kern="1200" dirty="0"/>
          </a:p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500" dirty="0"/>
          </a:p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500" kern="1200" dirty="0"/>
          </a:p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050" dirty="0"/>
          </a:p>
          <a:p>
            <a:pPr lvl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kern="1200" dirty="0"/>
              <a:t>Karanfil and Pierru (2021, </a:t>
            </a:r>
            <a:r>
              <a:rPr lang="en-US" i="1" dirty="0"/>
              <a:t>Energy Economics</a:t>
            </a:r>
            <a:r>
              <a:rPr lang="en-US" kern="1200" dirty="0"/>
              <a:t>)</a:t>
            </a:r>
            <a:r>
              <a:rPr lang="en-US" dirty="0"/>
              <a:t>:</a:t>
            </a:r>
            <a:r>
              <a:rPr lang="en-US" kern="1200" dirty="0"/>
              <a:t> </a:t>
            </a:r>
          </a:p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kern="1200" dirty="0"/>
              <a:t>“The opportunity cost of domestic oil consumption for an oil exporter: Illustration for Saudi Arabia”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BE48673-664C-30A4-1E2C-32D03D20A8DB}"/>
              </a:ext>
            </a:extLst>
          </p:cNvPr>
          <p:cNvSpPr txBox="1"/>
          <p:nvPr/>
        </p:nvSpPr>
        <p:spPr>
          <a:xfrm>
            <a:off x="11813997" y="6532801"/>
            <a:ext cx="288585" cy="26668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fld id="{EFF4D7D2-636D-40D9-93B6-0CBAC255A5A5}" type="slidenum">
              <a:rPr lang="en-US" sz="1200" smtClean="0"/>
              <a:t>2</a:t>
            </a:fld>
            <a:endParaRPr lang="en-US" sz="1200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7BC85851-D286-45C2-4FF6-32087697BD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3351" y="1535585"/>
            <a:ext cx="1475002" cy="2105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D75F739D-2967-BF26-115E-671C1C458B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0065" y="1523389"/>
            <a:ext cx="1483544" cy="2118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02B84CB-F16F-232D-8155-3D19B64A0F70}"/>
              </a:ext>
            </a:extLst>
          </p:cNvPr>
          <p:cNvSpPr txBox="1"/>
          <p:nvPr/>
        </p:nvSpPr>
        <p:spPr>
          <a:xfrm>
            <a:off x="2311146" y="967796"/>
            <a:ext cx="7408085" cy="443712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none" lIns="0" tIns="0" rIns="0" bIns="0" rtlCol="0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2800" dirty="0"/>
              <a:t>The material presented is based on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7AE2057-1EAC-9FDD-89B8-B1C65CF8AECB}"/>
              </a:ext>
            </a:extLst>
          </p:cNvPr>
          <p:cNvSpPr txBox="1"/>
          <p:nvPr/>
        </p:nvSpPr>
        <p:spPr>
          <a:xfrm>
            <a:off x="387054" y="4847842"/>
            <a:ext cx="5420017" cy="1477328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buClr>
                <a:schemeClr val="accent6"/>
              </a:buClr>
            </a:pPr>
            <a:r>
              <a:rPr lang="en-US" dirty="0"/>
              <a:t>Besides being an export earner, oil is a tool for economic development</a:t>
            </a:r>
            <a:br>
              <a:rPr lang="en-US" dirty="0"/>
            </a:br>
            <a:r>
              <a:rPr lang="en-US" dirty="0"/>
              <a:t>- used as an input in </a:t>
            </a:r>
            <a:r>
              <a:rPr lang="en-US" dirty="0">
                <a:solidFill>
                  <a:srgbClr val="00B050"/>
                </a:solidFill>
              </a:rPr>
              <a:t>projects</a:t>
            </a:r>
            <a:r>
              <a:rPr lang="en-US" dirty="0"/>
              <a:t> that contribute to economic diversification (reducing dependence on oil) </a:t>
            </a:r>
            <a:br>
              <a:rPr lang="en-US" dirty="0"/>
            </a:br>
            <a:r>
              <a:rPr lang="en-US" dirty="0"/>
              <a:t>- has to be </a:t>
            </a:r>
            <a:r>
              <a:rPr lang="en-US" dirty="0">
                <a:solidFill>
                  <a:srgbClr val="00B050"/>
                </a:solidFill>
              </a:rPr>
              <a:t>valued</a:t>
            </a:r>
            <a:r>
              <a:rPr lang="en-US" dirty="0"/>
              <a:t> at the opportunity cos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F36B386-5136-66AB-4FEF-96E465C3BC9C}"/>
              </a:ext>
            </a:extLst>
          </p:cNvPr>
          <p:cNvSpPr txBox="1"/>
          <p:nvPr/>
        </p:nvSpPr>
        <p:spPr>
          <a:xfrm>
            <a:off x="6334478" y="4847842"/>
            <a:ext cx="5401608" cy="1477328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buClr>
                <a:schemeClr val="accent6"/>
              </a:buClr>
            </a:pPr>
            <a:r>
              <a:rPr lang="en-US" dirty="0"/>
              <a:t>The economic benefits of these </a:t>
            </a:r>
            <a:r>
              <a:rPr lang="en-US" dirty="0">
                <a:solidFill>
                  <a:srgbClr val="00B050"/>
                </a:solidFill>
              </a:rPr>
              <a:t>projects</a:t>
            </a:r>
            <a:r>
              <a:rPr lang="en-US" dirty="0"/>
              <a:t> are included in the projects’ net present value (NPV) calculation</a:t>
            </a:r>
            <a:br>
              <a:rPr lang="en-US" dirty="0"/>
            </a:br>
            <a:r>
              <a:rPr lang="en-US" dirty="0"/>
              <a:t>- compute appropriate public discount rates </a:t>
            </a:r>
            <a:br>
              <a:rPr lang="en-US" dirty="0"/>
            </a:br>
            <a:r>
              <a:rPr lang="en-US" dirty="0"/>
              <a:t>- dependence on oil impacts the public discount rate for </a:t>
            </a:r>
            <a:r>
              <a:rPr lang="en-US" dirty="0">
                <a:solidFill>
                  <a:srgbClr val="00B050"/>
                </a:solidFill>
              </a:rPr>
              <a:t>valuing</a:t>
            </a:r>
            <a:r>
              <a:rPr lang="en-US" dirty="0"/>
              <a:t> oil-related cash flows</a:t>
            </a: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7F4D78EA-E685-E9B8-571B-90FCD49F5D6B}"/>
              </a:ext>
            </a:extLst>
          </p:cNvPr>
          <p:cNvSpPr/>
          <p:nvPr/>
        </p:nvSpPr>
        <p:spPr>
          <a:xfrm>
            <a:off x="5864773" y="5101721"/>
            <a:ext cx="444481" cy="245501"/>
          </a:xfrm>
          <a:prstGeom prst="rightArrow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EEBFEB61-27BA-7856-323A-0A01A392A089}"/>
              </a:ext>
            </a:extLst>
          </p:cNvPr>
          <p:cNvSpPr/>
          <p:nvPr/>
        </p:nvSpPr>
        <p:spPr>
          <a:xfrm rot="10800000">
            <a:off x="5848534" y="5767453"/>
            <a:ext cx="444481" cy="245501"/>
          </a:xfrm>
          <a:prstGeom prst="rightArrow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46555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12" grpId="0" animBg="1"/>
      <p:bldP spid="2" grpId="0" animBg="1"/>
      <p:bldP spid="3" grpId="0" animBg="1"/>
      <p:bldP spid="4" grpId="0" animBg="1"/>
      <p:bldP spid="8" grpId="0" animBg="1"/>
      <p:bldP spid="9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316B8079-4A76-825B-BA7C-2BAA5881359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23342" y="223718"/>
            <a:ext cx="11190655" cy="87459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en-US" sz="2800" spc="20" dirty="0">
                <a:solidFill>
                  <a:schemeClr val="accent1"/>
                </a:solidFill>
              </a:rPr>
              <a:t>How economic dependence on oil impacts the present value of oil-related cash flows from a public policy perspectiv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51FD9DA-198E-9CB2-345D-951617A3D39E}"/>
              </a:ext>
            </a:extLst>
          </p:cNvPr>
          <p:cNvCxnSpPr/>
          <p:nvPr/>
        </p:nvCxnSpPr>
        <p:spPr>
          <a:xfrm>
            <a:off x="526473" y="1161205"/>
            <a:ext cx="3472872" cy="0"/>
          </a:xfrm>
          <a:prstGeom prst="line">
            <a:avLst/>
          </a:prstGeom>
          <a:ln w="1905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29025391-0E24-8D20-E2AD-7571D6424A12}"/>
              </a:ext>
            </a:extLst>
          </p:cNvPr>
          <p:cNvSpPr txBox="1"/>
          <p:nvPr/>
        </p:nvSpPr>
        <p:spPr>
          <a:xfrm>
            <a:off x="1991710" y="3344228"/>
            <a:ext cx="9458884" cy="880083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/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/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800" dirty="0"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75.9% of Saudi Arabia’s total government revenues (in Q3 2022) </a:t>
            </a:r>
            <a:r>
              <a:rPr lang="en-US" sz="1200" dirty="0"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(SAMA)</a:t>
            </a:r>
            <a:endParaRPr lang="en-US" sz="1800" dirty="0">
              <a:effectLst/>
              <a:latin typeface="Cambria" panose="02040503050406030204" pitchFamily="18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800" dirty="0">
                <a:effectLst/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95.1% and 54.7% of total government revenues in Iraq and the UAE </a:t>
            </a:r>
            <a:r>
              <a:rPr lang="en-US" sz="1200" dirty="0">
                <a:effectLst/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(IMF)</a:t>
            </a:r>
            <a:r>
              <a:rPr lang="en-US" sz="1800" dirty="0">
                <a:effectLst/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endParaRPr lang="en-US" sz="24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BE48673-664C-30A4-1E2C-32D03D20A8DB}"/>
              </a:ext>
            </a:extLst>
          </p:cNvPr>
          <p:cNvSpPr txBox="1"/>
          <p:nvPr/>
        </p:nvSpPr>
        <p:spPr>
          <a:xfrm>
            <a:off x="11813997" y="6532801"/>
            <a:ext cx="288585" cy="26668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fld id="{EFF4D7D2-636D-40D9-93B6-0CBAC255A5A5}" type="slidenum">
              <a:rPr lang="en-US" sz="1200" smtClean="0"/>
              <a:t>3</a:t>
            </a:fld>
            <a:endParaRPr lang="en-US" sz="12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A01F8CF-FEFA-7053-4F7C-19D33CE5D6A8}"/>
              </a:ext>
            </a:extLst>
          </p:cNvPr>
          <p:cNvSpPr txBox="1"/>
          <p:nvPr/>
        </p:nvSpPr>
        <p:spPr>
          <a:xfrm>
            <a:off x="1991710" y="1429659"/>
            <a:ext cx="9458884" cy="1472379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/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/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800" dirty="0"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The domestic energy transition of an oil-exporting economy often implies investing in projects that displace oil from domestic consumption (enhancing energy efficiency in an oil-consuming sector or developing renewables capacity)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800" dirty="0"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Most oil-exporting economies pursue economic diversification and industrial development policies, which ultimately leads to less dependence on oil revenues</a:t>
            </a:r>
            <a:endParaRPr lang="en-US" sz="24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2FBD021-14EE-590D-C33F-3A246ECD1468}"/>
              </a:ext>
            </a:extLst>
          </p:cNvPr>
          <p:cNvSpPr txBox="1"/>
          <p:nvPr/>
        </p:nvSpPr>
        <p:spPr>
          <a:xfrm>
            <a:off x="1991710" y="4670695"/>
            <a:ext cx="9458884" cy="1472384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/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/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800" dirty="0"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Selecting welfare-enhancing projects necessitates understanding the extent to which economic dependence on oil impacts the present value of oil-related cash flows from a public policy perspective 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800" dirty="0"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Need for public discount rates that capture both the risk of the cash flows and the characteristics of the oil-exporting economy considered</a:t>
            </a:r>
            <a:endParaRPr lang="en-US" sz="24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29F88B8-204F-DDDA-7B44-00AAA396DA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2180" y="1601540"/>
            <a:ext cx="1107092" cy="1107092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38F5022-F06C-E307-5A2B-4F5314F6E4C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3042" y="4781127"/>
            <a:ext cx="1285367" cy="128536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BF96D81-5053-8024-1D3F-FC80FA7B24B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2180" y="3204342"/>
            <a:ext cx="1107092" cy="11070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92974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8" grpId="0" animBg="1"/>
      <p:bldP spid="13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316B8079-4A76-825B-BA7C-2BAA5881359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23342" y="223718"/>
            <a:ext cx="10943818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800" spc="20" dirty="0">
                <a:solidFill>
                  <a:schemeClr val="accent1"/>
                </a:solidFill>
              </a:rPr>
              <a:t>Approach: Valuing cash flows from a public policy perspectiv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51FD9DA-198E-9CB2-345D-951617A3D39E}"/>
              </a:ext>
            </a:extLst>
          </p:cNvPr>
          <p:cNvCxnSpPr/>
          <p:nvPr/>
        </p:nvCxnSpPr>
        <p:spPr>
          <a:xfrm>
            <a:off x="526473" y="914317"/>
            <a:ext cx="3472872" cy="0"/>
          </a:xfrm>
          <a:prstGeom prst="line">
            <a:avLst/>
          </a:prstGeom>
          <a:ln w="1905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84C9CC2E-7B95-C53B-CF0A-3BA838F943A4}"/>
              </a:ext>
            </a:extLst>
          </p:cNvPr>
          <p:cNvSpPr txBox="1"/>
          <p:nvPr/>
        </p:nvSpPr>
        <p:spPr>
          <a:xfrm>
            <a:off x="11813997" y="6532801"/>
            <a:ext cx="288585" cy="26668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fld id="{EFF4D7D2-636D-40D9-93B6-0CBAC255A5A5}" type="slidenum">
              <a:rPr lang="en-US" sz="1200" smtClean="0"/>
              <a:t>4</a:t>
            </a:fld>
            <a:endParaRPr lang="en-US" sz="1200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E25B94B0-1DAD-EC75-E80F-D42D38626258}"/>
                  </a:ext>
                </a:extLst>
              </p:cNvPr>
              <p:cNvSpPr txBox="1"/>
              <p:nvPr/>
            </p:nvSpPr>
            <p:spPr>
              <a:xfrm>
                <a:off x="618612" y="1238543"/>
                <a:ext cx="10532338" cy="957826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 w="6350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marL="0" marR="0" algn="just">
                  <a:spcBef>
                    <a:spcPts val="0"/>
                  </a:spcBef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i="1"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𝑈</m:t>
                      </m:r>
                      <m:d>
                        <m:dPr>
                          <m:ctrlPr>
                            <a:rPr lang="en-US" sz="20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sz="20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𝐶</m:t>
                              </m:r>
                            </m:e>
                            <m:sub>
                              <m:r>
                                <a:rPr lang="en-US" sz="20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0</m:t>
                              </m:r>
                            </m:sub>
                          </m:sSub>
                          <m:r>
                            <a:rPr lang="en-US" sz="20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−</m:t>
                          </m:r>
                          <m:r>
                            <a:rPr lang="en-US" sz="2000" b="0" i="1" smtClean="0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𝐼</m:t>
                          </m:r>
                        </m:e>
                      </m:d>
                      <m:r>
                        <a:rPr lang="en-US" sz="2000" i="1"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+</m:t>
                      </m:r>
                      <m:nary>
                        <m:naryPr>
                          <m:chr m:val="∑"/>
                          <m:limLoc m:val="undOvr"/>
                          <m:ctrlPr>
                            <a:rPr lang="en-US" sz="20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</m:ctrlPr>
                        </m:naryPr>
                        <m:sub>
                          <m:r>
                            <a:rPr lang="en-US" sz="20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𝑡</m:t>
                          </m:r>
                          <m:r>
                            <a:rPr lang="en-US" sz="20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US" sz="20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𝑇</m:t>
                          </m:r>
                        </m:sup>
                        <m:e>
                          <m:sSup>
                            <m:sSupPr>
                              <m:ctrlPr>
                                <a:rPr lang="en-US" sz="20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20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US" sz="20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−</m:t>
                              </m:r>
                              <m:r>
                                <a:rPr lang="en-US" sz="20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𝛿</m:t>
                              </m:r>
                              <m:r>
                                <a:rPr lang="en-US" sz="20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𝑡</m:t>
                              </m:r>
                            </m:sup>
                          </m:sSup>
                        </m:e>
                      </m:nary>
                      <m:r>
                        <a:rPr lang="en-US" sz="2000" i="1"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𝐸</m:t>
                      </m:r>
                      <m:d>
                        <m:dPr>
                          <m:begChr m:val="["/>
                          <m:endChr m:val="]"/>
                          <m:ctrlPr>
                            <a:rPr lang="en-US" sz="20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</m:ctrlPr>
                        </m:dPr>
                        <m:e>
                          <m:r>
                            <a:rPr lang="en-US" sz="20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𝑈</m:t>
                          </m:r>
                          <m:d>
                            <m:dPr>
                              <m:ctrlPr>
                                <a:rPr lang="en-US" sz="20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sz="2000" i="1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2000" i="1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𝐶</m:t>
                                  </m:r>
                                </m:e>
                                <m:sub>
                                  <m:r>
                                    <a:rPr lang="en-US" sz="2000" i="1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en-US" sz="20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+</m:t>
                              </m:r>
                              <m:sSub>
                                <m:sSubPr>
                                  <m:ctrlPr>
                                    <a:rPr lang="en-US" sz="2000" i="1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</m:ctrlPr>
                                </m:sSubPr>
                                <m:e>
                                  <m:sSub>
                                    <m:sSubPr>
                                      <m:ctrlPr>
                                        <a:rPr lang="en-US" sz="2000" i="1">
                                          <a:effectLst/>
                                          <a:latin typeface="Cambria Math" panose="02040503050406030204" pitchFamily="18" charset="0"/>
                                          <a:ea typeface="Times New Roman" panose="02020603050405020304" pitchFamily="18" charset="0"/>
                                          <a:cs typeface="Times New Roman" panose="020206030504050203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2000" i="1">
                                          <a:effectLst/>
                                          <a:latin typeface="Cambria Math" panose="02040503050406030204" pitchFamily="18" charset="0"/>
                                          <a:ea typeface="Times New Roman" panose="02020603050405020304" pitchFamily="18" charset="0"/>
                                          <a:cs typeface="Times New Roman" panose="02020603050405020304" pitchFamily="18" charset="0"/>
                                        </a:rPr>
                                        <m:t>𝛾</m:t>
                                      </m:r>
                                    </m:e>
                                    <m:sub>
                                      <m:r>
                                        <a:rPr lang="en-US" sz="2000" i="1">
                                          <a:effectLst/>
                                          <a:latin typeface="Cambria Math" panose="02040503050406030204" pitchFamily="18" charset="0"/>
                                          <a:ea typeface="Times New Roman" panose="02020603050405020304" pitchFamily="18" charset="0"/>
                                          <a:cs typeface="Times New Roman" panose="02020603050405020304" pitchFamily="18" charset="0"/>
                                        </a:rPr>
                                        <m:t>𝑡</m:t>
                                      </m:r>
                                    </m:sub>
                                  </m:sSub>
                                  <m:r>
                                    <a:rPr lang="en-US" sz="2000" i="1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en-US" sz="2000" i="1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en-US" sz="2000" i="1">
                                  <a:effectLst/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𝑞</m:t>
                              </m:r>
                            </m:e>
                          </m:d>
                        </m:e>
                      </m:d>
                    </m:oMath>
                  </m:oMathPara>
                </a14:m>
                <a:endParaRPr lang="en-US" sz="2000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Arial" panose="020B0604020202020204" pitchFamily="34" charset="0"/>
                </a:endParaRPr>
              </a:p>
            </p:txBody>
          </p:sp>
        </mc:Choice>
        <mc:Fallback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E25B94B0-1DAD-EC75-E80F-D42D3862625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8612" y="1238543"/>
                <a:ext cx="10532338" cy="957826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  <a:ln w="6350">
                <a:noFill/>
                <a:miter lim="800000"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extBox 3">
            <a:extLst>
              <a:ext uri="{FF2B5EF4-FFF2-40B4-BE49-F238E27FC236}">
                <a16:creationId xmlns:a16="http://schemas.microsoft.com/office/drawing/2014/main" id="{1D7C4944-EA12-02DA-8160-E63FAF81170E}"/>
              </a:ext>
            </a:extLst>
          </p:cNvPr>
          <p:cNvSpPr txBox="1"/>
          <p:nvPr/>
        </p:nvSpPr>
        <p:spPr>
          <a:xfrm>
            <a:off x="456619" y="1053877"/>
            <a:ext cx="3895925" cy="369332"/>
          </a:xfrm>
          <a:prstGeom prst="rect">
            <a:avLst/>
          </a:prstGeom>
          <a:ln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algn="just">
              <a:spcBef>
                <a:spcPts val="0"/>
              </a:spcBef>
            </a:pPr>
            <a:r>
              <a:rPr lang="en-US" sz="1800" dirty="0">
                <a:effectLst/>
                <a:latin typeface="Cambria" panose="0204050305040603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Investment project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EE122764-B4D3-642A-9886-AB50FAFDA189}"/>
                  </a:ext>
                </a:extLst>
              </p:cNvPr>
              <p:cNvSpPr txBox="1"/>
              <p:nvPr/>
            </p:nvSpPr>
            <p:spPr>
              <a:xfrm>
                <a:off x="618613" y="2338014"/>
                <a:ext cx="10532338" cy="1287468"/>
              </a:xfrm>
              <a:prstGeom prst="rect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>
                <a:solidFill>
                  <a:schemeClr val="accent3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>
                <a:spAutoFit/>
              </a:bodyPr>
              <a:lstStyle/>
              <a:p>
                <a:pPr marL="285750" marR="0" indent="-285750" algn="just">
                  <a:lnSpc>
                    <a:spcPct val="150000"/>
                  </a:lnSpc>
                  <a:spcBef>
                    <a:spcPts val="0"/>
                  </a:spcBef>
                  <a:buClr>
                    <a:srgbClr val="00B050"/>
                  </a:buClr>
                  <a:buFont typeface="Wingdings" panose="05000000000000000000" pitchFamily="2" charset="2"/>
                  <a:buChar char="§"/>
                </a:pPr>
                <a14:m>
                  <m:oMath xmlns:m="http://schemas.openxmlformats.org/officeDocument/2006/math">
                    <m:r>
                      <a:rPr lang="en-US" i="1" smtClean="0">
                        <a:solidFill>
                          <a:schemeClr val="tx1"/>
                        </a:solidFill>
                        <a:effectLst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𝑞</m:t>
                    </m:r>
                  </m:oMath>
                </a14:m>
                <a:r>
                  <a:rPr lang="en-US" dirty="0">
                    <a:solidFill>
                      <a:schemeClr val="tx1"/>
                    </a:solidFill>
                    <a:effectLst/>
                    <a:latin typeface="Cambria" panose="02040503050406030204" pitchFamily="18" charset="0"/>
                    <a:ea typeface="Cambria" panose="02040503050406030204" pitchFamily="18" charset="0"/>
                    <a:cs typeface="Times New Roman" panose="02020603050405020304" pitchFamily="18" charset="0"/>
                  </a:rPr>
                  <a:t>: fixed quantity of barrels of oil freed from domestic consumption</a:t>
                </a:r>
              </a:p>
              <a:p>
                <a:pPr marL="285750" indent="-285750" algn="just">
                  <a:lnSpc>
                    <a:spcPct val="150000"/>
                  </a:lnSpc>
                  <a:buClr>
                    <a:srgbClr val="00B050"/>
                  </a:buClr>
                  <a:buFont typeface="Wingdings" panose="05000000000000000000" pitchFamily="2" charset="2"/>
                  <a:buChar char="§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en-US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𝛾</m:t>
                            </m:r>
                          </m:e>
                          <m:sub>
                            <m:r>
                              <a:rPr lang="en-US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</m:sub>
                        </m:sSub>
                        <m:r>
                          <a:rPr lang="en-US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𝑃</m:t>
                        </m:r>
                      </m:e>
                      <m:sub>
                        <m:r>
                          <a:rPr lang="en-US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US" dirty="0">
                    <a:solidFill>
                      <a:schemeClr val="tx1"/>
                    </a:solidFill>
                    <a:latin typeface="Cambria" panose="02040503050406030204" pitchFamily="18" charset="0"/>
                    <a:ea typeface="Cambria" panose="02040503050406030204" pitchFamily="18" charset="0"/>
                    <a:cs typeface="Times New Roman" panose="02020603050405020304" pitchFamily="18" charset="0"/>
                  </a:rPr>
                  <a:t>: The opportunity cost of oil depends on the price elasticities of global oil demand and other producers’ supply, as well as the country’s share in the global market </a:t>
                </a:r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EE122764-B4D3-642A-9886-AB50FAFDA18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8613" y="2338014"/>
                <a:ext cx="10532338" cy="1287468"/>
              </a:xfrm>
              <a:prstGeom prst="rect">
                <a:avLst/>
              </a:prstGeom>
              <a:blipFill>
                <a:blip r:embed="rId4"/>
                <a:stretch>
                  <a:fillRect l="-289" r="-462" b="-6103"/>
                </a:stretch>
              </a:blipFill>
              <a:ln>
                <a:solidFill>
                  <a:schemeClr val="accent3">
                    <a:lumMod val="40000"/>
                    <a:lumOff val="60000"/>
                  </a:schemeClr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55068CF5-16B8-F93C-0983-EE1AA6419181}"/>
                  </a:ext>
                </a:extLst>
              </p:cNvPr>
              <p:cNvSpPr txBox="1"/>
              <p:nvPr/>
            </p:nvSpPr>
            <p:spPr>
              <a:xfrm>
                <a:off x="618612" y="4167220"/>
                <a:ext cx="10532338" cy="1409168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 w="6350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0" i="0" smtClean="0"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                       </m:t>
                      </m:r>
                      <m:r>
                        <a:rPr lang="en-US" sz="2000" smtClean="0"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𝑁𝑃𝑉</m:t>
                      </m:r>
                      <m:r>
                        <a:rPr lang="en-US" sz="2000" smtClean="0"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=−</m:t>
                      </m:r>
                      <m:r>
                        <a:rPr lang="en-US" sz="2000" smtClean="0"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𝐼</m:t>
                      </m:r>
                      <m:r>
                        <a:rPr lang="en-US" sz="2000" smtClean="0"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+</m:t>
                      </m:r>
                      <m:nary>
                        <m:naryPr>
                          <m:chr m:val="∑"/>
                          <m:limLoc m:val="undOvr"/>
                          <m:ctrlPr>
                            <a:rPr lang="en-US" sz="2000" i="1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</m:ctrlPr>
                        </m:naryPr>
                        <m:sub>
                          <m:r>
                            <a:rPr lang="en-US" sz="2000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𝑡</m:t>
                          </m:r>
                          <m:r>
                            <a:rPr lang="en-US" sz="2000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US" sz="2000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𝑇</m:t>
                          </m:r>
                        </m:sup>
                        <m:e>
                          <m:sSup>
                            <m:sSupPr>
                              <m:ctrlPr>
                                <a:rPr lang="en-US" sz="2000" i="1"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2000"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US" sz="2000"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−</m:t>
                              </m:r>
                              <m:r>
                                <a:rPr lang="en-US" sz="2000"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𝑟𝑡</m:t>
                              </m:r>
                            </m:sup>
                          </m:sSup>
                          <m:sSub>
                            <m:sSubPr>
                              <m:ctrlPr>
                                <a:rPr lang="en-US" sz="2000" i="1"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</m:ctrlPr>
                            </m:sSubPr>
                            <m:e>
                              <m:sSub>
                                <m:sSubPr>
                                  <m:ctrlPr>
                                    <a:rPr lang="en-US" sz="2000" i="1"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2000"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𝛾</m:t>
                                  </m:r>
                                </m:e>
                                <m:sub>
                                  <m:r>
                                    <a:rPr lang="en-US" sz="2000"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en-US" sz="2000"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𝑃</m:t>
                              </m:r>
                            </m:e>
                            <m:sub>
                              <m:r>
                                <a:rPr lang="en-US" sz="2000"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sz="2000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𝑞</m:t>
                          </m:r>
                        </m:e>
                      </m:nary>
                    </m:oMath>
                  </m:oMathPara>
                </a14:m>
                <a:endParaRPr lang="en-US" sz="2000" dirty="0">
                  <a:latin typeface="Cambria" panose="02040503050406030204" pitchFamily="18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r>
                  <a:rPr lang="en-US" dirty="0">
                    <a:latin typeface="Cambria" panose="02040503050406030204" pitchFamily="18" charset="0"/>
                    <a:ea typeface="Cambria" panose="02040503050406030204" pitchFamily="18" charset="0"/>
                    <a:cs typeface="Times New Roman" panose="02020603050405020304" pitchFamily="18" charset="0"/>
                  </a:rPr>
                  <a:t>with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i="1">
                            <a:latin typeface="Cambria Math" panose="02040503050406030204" pitchFamily="18" charset="0"/>
                            <a:ea typeface="Cambria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r>
                          <a:rPr lang="en-US">
                            <a:latin typeface="Cambria Math" panose="02040503050406030204" pitchFamily="18" charset="0"/>
                            <a:ea typeface="Cambria" panose="02040503050406030204" pitchFamily="18" charset="0"/>
                            <a:cs typeface="Times New Roman" panose="02020603050405020304" pitchFamily="18" charset="0"/>
                          </a:rPr>
                          <m:t>𝑒</m:t>
                        </m:r>
                      </m:e>
                      <m:sup>
                        <m:r>
                          <a:rPr lang="en-US">
                            <a:latin typeface="Cambria Math" panose="02040503050406030204" pitchFamily="18" charset="0"/>
                            <a:ea typeface="Cambria" panose="02040503050406030204" pitchFamily="18" charset="0"/>
                            <a:cs typeface="Times New Roman" panose="02020603050405020304" pitchFamily="18" charset="0"/>
                          </a:rPr>
                          <m:t>−</m:t>
                        </m:r>
                        <m:r>
                          <a:rPr lang="en-US">
                            <a:latin typeface="Cambria Math" panose="02040503050406030204" pitchFamily="18" charset="0"/>
                            <a:ea typeface="Cambria" panose="02040503050406030204" pitchFamily="18" charset="0"/>
                            <a:cs typeface="Times New Roman" panose="02020603050405020304" pitchFamily="18" charset="0"/>
                          </a:rPr>
                          <m:t>𝑟𝑡</m:t>
                        </m:r>
                      </m:sup>
                    </m:sSup>
                    <m:r>
                      <a:rPr lang="en-US">
                        <a:latin typeface="Cambria Math" panose="02040503050406030204" pitchFamily="18" charset="0"/>
                        <a:ea typeface="Cambria" panose="02040503050406030204" pitchFamily="18" charset="0"/>
                        <a:cs typeface="Times New Roman" panose="02020603050405020304" pitchFamily="18" charset="0"/>
                      </a:rPr>
                      <m:t>=</m:t>
                    </m:r>
                    <m:f>
                      <m:fPr>
                        <m:ctrlPr>
                          <a:rPr lang="en-US" i="1">
                            <a:latin typeface="Cambria Math" panose="02040503050406030204" pitchFamily="18" charset="0"/>
                            <a:ea typeface="Cambria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fPr>
                      <m:num>
                        <m:r>
                          <a:rPr lang="en-US">
                            <a:latin typeface="Cambria Math" panose="02040503050406030204" pitchFamily="18" charset="0"/>
                            <a:ea typeface="Cambria" panose="02040503050406030204" pitchFamily="18" charset="0"/>
                            <a:cs typeface="Times New Roman" panose="02020603050405020304" pitchFamily="18" charset="0"/>
                          </a:rPr>
                          <m:t>𝐸</m:t>
                        </m:r>
                        <m:d>
                          <m:dPr>
                            <m:begChr m:val="["/>
                            <m:endChr m:val="]"/>
                            <m:ctrlP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dPr>
                          <m:e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𝑈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′(</m:t>
                            </m:r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  <a:ea typeface="Cambria" panose="02040503050406030204" pitchFamily="18" charset="0"/>
                                    <a:cs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>
                                    <a:latin typeface="Cambria Math" panose="02040503050406030204" pitchFamily="18" charset="0"/>
                                    <a:ea typeface="Cambria" panose="02040503050406030204" pitchFamily="18" charset="0"/>
                                    <a:cs typeface="Times New Roman" panose="02020603050405020304" pitchFamily="18" charset="0"/>
                                  </a:rPr>
                                  <m:t>𝐶</m:t>
                                </m:r>
                              </m:e>
                              <m:sub>
                                <m:r>
                                  <a:rPr lang="en-US">
                                    <a:latin typeface="Cambria Math" panose="02040503050406030204" pitchFamily="18" charset="0"/>
                                    <a:ea typeface="Cambria" panose="02040503050406030204" pitchFamily="18" charset="0"/>
                                    <a:cs typeface="Times New Roman" panose="02020603050405020304" pitchFamily="18" charset="0"/>
                                  </a:rPr>
                                  <m:t>𝑡</m:t>
                                </m:r>
                              </m:sub>
                            </m:sSub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d>
                      </m:num>
                      <m:den>
                        <m:r>
                          <a:rPr lang="en-US">
                            <a:latin typeface="Cambria Math" panose="02040503050406030204" pitchFamily="18" charset="0"/>
                            <a:ea typeface="Cambria" panose="02040503050406030204" pitchFamily="18" charset="0"/>
                            <a:cs typeface="Times New Roman" panose="02020603050405020304" pitchFamily="18" charset="0"/>
                          </a:rPr>
                          <m:t>𝑈</m:t>
                        </m:r>
                        <m:r>
                          <a:rPr lang="en-US">
                            <a:latin typeface="Cambria Math" panose="02040503050406030204" pitchFamily="18" charset="0"/>
                            <a:ea typeface="Cambria" panose="02040503050406030204" pitchFamily="18" charset="0"/>
                            <a:cs typeface="Times New Roman" panose="02020603050405020304" pitchFamily="18" charset="0"/>
                          </a:rPr>
                          <m:t>′(</m:t>
                        </m:r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0</m:t>
                            </m:r>
                          </m:sub>
                        </m:sSub>
                        <m:r>
                          <a:rPr lang="en-US">
                            <a:latin typeface="Cambria Math" panose="02040503050406030204" pitchFamily="18" charset="0"/>
                            <a:ea typeface="Cambria" panose="02040503050406030204" pitchFamily="18" charset="0"/>
                            <a:cs typeface="Times New Roman" panose="02020603050405020304" pitchFamily="18" charset="0"/>
                          </a:rPr>
                          <m:t>)</m:t>
                        </m:r>
                      </m:den>
                    </m:f>
                    <m:r>
                      <a:rPr lang="en-US">
                        <a:latin typeface="Cambria Math" panose="02040503050406030204" pitchFamily="18" charset="0"/>
                        <a:ea typeface="Cambria" panose="02040503050406030204" pitchFamily="18" charset="0"/>
                        <a:cs typeface="Times New Roman" panose="02020603050405020304" pitchFamily="18" charset="0"/>
                      </a:rPr>
                      <m:t> </m:t>
                    </m:r>
                  </m:oMath>
                </a14:m>
                <a:r>
                  <a:rPr lang="en-US" dirty="0">
                    <a:latin typeface="Cambria" panose="02040503050406030204" pitchFamily="18" charset="0"/>
                    <a:ea typeface="Cambria" panose="02040503050406030204" pitchFamily="18" charset="0"/>
                    <a:cs typeface="Times New Roman" panose="02020603050405020304" pitchFamily="18" charset="0"/>
                  </a:rPr>
                  <a:t>expected marginal rate of substitution between current and future consumption</a:t>
                </a:r>
              </a:p>
            </p:txBody>
          </p:sp>
        </mc:Choice>
        <mc:Fallback xmlns="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55068CF5-16B8-F93C-0983-EE1AA641918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8612" y="4167220"/>
                <a:ext cx="10532338" cy="1409168"/>
              </a:xfrm>
              <a:prstGeom prst="rect">
                <a:avLst/>
              </a:prstGeom>
              <a:blipFill>
                <a:blip r:embed="rId5"/>
                <a:stretch>
                  <a:fillRect l="-463" b="-1732"/>
                </a:stretch>
              </a:blipFill>
              <a:ln w="6350">
                <a:noFill/>
                <a:miter lim="800000"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A5CD14D3-350E-9759-ED70-772B28E932EA}"/>
              </a:ext>
            </a:extLst>
          </p:cNvPr>
          <p:cNvSpPr txBox="1"/>
          <p:nvPr/>
        </p:nvSpPr>
        <p:spPr>
          <a:xfrm>
            <a:off x="456619" y="3982554"/>
            <a:ext cx="5301970" cy="369332"/>
          </a:xfrm>
          <a:prstGeom prst="rect">
            <a:avLst/>
          </a:prstGeom>
          <a:ln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dirty="0"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e project has a public net present value (NPV):</a:t>
            </a:r>
          </a:p>
        </p:txBody>
      </p:sp>
    </p:spTree>
    <p:extLst>
      <p:ext uri="{BB962C8B-B14F-4D97-AF65-F5344CB8AC3E}">
        <p14:creationId xmlns:p14="http://schemas.microsoft.com/office/powerpoint/2010/main" val="15509147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4" grpId="0" animBg="1"/>
      <p:bldP spid="8" grpId="0" animBg="1"/>
      <p:bldP spid="13" grpId="0" animBg="1"/>
      <p:bldP spid="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316B8079-4A76-825B-BA7C-2BAA5881359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23342" y="223718"/>
            <a:ext cx="10523194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800" spc="20" dirty="0">
                <a:solidFill>
                  <a:schemeClr val="accent1"/>
                </a:solidFill>
              </a:rPr>
              <a:t>Extended Ramsey rule and the risk premium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51FD9DA-198E-9CB2-345D-951617A3D39E}"/>
              </a:ext>
            </a:extLst>
          </p:cNvPr>
          <p:cNvCxnSpPr/>
          <p:nvPr/>
        </p:nvCxnSpPr>
        <p:spPr>
          <a:xfrm>
            <a:off x="526473" y="804589"/>
            <a:ext cx="3472872" cy="0"/>
          </a:xfrm>
          <a:prstGeom prst="line">
            <a:avLst/>
          </a:prstGeom>
          <a:ln w="1905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85E41557-459B-40F6-3DB8-1C0748548667}"/>
                  </a:ext>
                </a:extLst>
              </p:cNvPr>
              <p:cNvSpPr txBox="1"/>
              <p:nvPr/>
            </p:nvSpPr>
            <p:spPr>
              <a:xfrm>
                <a:off x="623342" y="960267"/>
                <a:ext cx="4972786" cy="1048508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/>
              <a:lstStyle>
                <a:defPPr>
                  <a:defRPr lang="en-US"/>
                </a:defPPr>
                <a:lvl1pPr indent="0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defRPr sz="1600"/>
                </a:lvl1pPr>
                <a:lvl2pPr marL="6858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/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/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5pPr>
                <a:lvl6pPr marL="25146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6pPr>
                <a:lvl7pPr marL="29718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7pPr>
                <a:lvl8pPr marL="3429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8pPr>
                <a:lvl9pPr marL="3886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9pPr>
              </a:lstStyle>
              <a:p>
                <a:endParaRPr lang="en-US" sz="2800" b="1" dirty="0"/>
              </a:p>
              <a:p>
                <a:r>
                  <a:rPr lang="en-US" sz="2800" dirty="0">
                    <a:effectLst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                    </a:t>
                </a:r>
                <a14:m>
                  <m:oMath xmlns:m="http://schemas.openxmlformats.org/officeDocument/2006/math">
                    <m:r>
                      <a:rPr lang="en-US" sz="2800" i="1"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=</m:t>
                    </m:r>
                    <m:r>
                      <a:rPr lang="en-US" sz="2800" i="1"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𝛼𝜇</m:t>
                    </m:r>
                    <m:r>
                      <a:rPr lang="en-US" sz="2800" i="1"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−</m:t>
                    </m:r>
                    <m:f>
                      <m:fPr>
                        <m:ctrlPr>
                          <a:rPr lang="en-US" sz="2800" i="1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en-US" sz="2800" i="1"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</m:ctrlPr>
                          </m:sSupPr>
                          <m:e>
                            <m:r>
                              <a:rPr lang="en-US" sz="2800" i="1"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𝛼</m:t>
                            </m:r>
                          </m:e>
                          <m:sup>
                            <m:r>
                              <a:rPr lang="en-US" sz="2800" i="1"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2</m:t>
                            </m:r>
                          </m:sup>
                        </m:sSup>
                      </m:num>
                      <m:den>
                        <m:r>
                          <a:rPr lang="en-US" sz="2800" i="1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2</m:t>
                        </m:r>
                      </m:den>
                    </m:f>
                    <m:sSup>
                      <m:sSupPr>
                        <m:ctrlPr>
                          <a:rPr lang="en-US" sz="2800" i="1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r>
                          <a:rPr lang="en-US" sz="2800" i="1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𝜎</m:t>
                        </m:r>
                      </m:e>
                      <m:sup>
                        <m:r>
                          <a:rPr lang="en-US" sz="2800" i="1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2</m:t>
                        </m:r>
                      </m:sup>
                    </m:sSup>
                  </m:oMath>
                </a14:m>
                <a:endParaRPr lang="en-US" sz="3600" dirty="0"/>
              </a:p>
              <a:p>
                <a:endParaRPr lang="en-US" sz="2000" dirty="0">
                  <a:latin typeface="Cambria" panose="02040503050406030204" pitchFamily="18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endParaRPr lang="en-US" sz="2000" dirty="0">
                  <a:latin typeface="Cambria" panose="02040503050406030204" pitchFamily="18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endParaRPr lang="en-US" sz="2000" dirty="0">
                  <a:latin typeface="Cambria" panose="02040503050406030204" pitchFamily="18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endParaRPr lang="en-US" sz="2000" dirty="0">
                  <a:effectLst/>
                  <a:latin typeface="Cambria" panose="02040503050406030204" pitchFamily="18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endParaRPr lang="en-US" sz="2000" dirty="0">
                  <a:effectLst/>
                  <a:latin typeface="Cambria" panose="02040503050406030204" pitchFamily="18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85E41557-459B-40F6-3DB8-1C074854866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3342" y="960267"/>
                <a:ext cx="4972786" cy="1048508"/>
              </a:xfrm>
              <a:prstGeom prst="rect">
                <a:avLst/>
              </a:prstGeom>
              <a:blipFill>
                <a:blip r:embed="rId3"/>
                <a:stretch>
                  <a:fillRect b="-1162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TextBox 6">
            <a:extLst>
              <a:ext uri="{FF2B5EF4-FFF2-40B4-BE49-F238E27FC236}">
                <a16:creationId xmlns:a16="http://schemas.microsoft.com/office/drawing/2014/main" id="{A3A62B1A-1DD9-FF7A-800F-3ECD4D6FF64E}"/>
              </a:ext>
            </a:extLst>
          </p:cNvPr>
          <p:cNvSpPr txBox="1"/>
          <p:nvPr/>
        </p:nvSpPr>
        <p:spPr>
          <a:xfrm>
            <a:off x="11813997" y="6532801"/>
            <a:ext cx="288585" cy="26668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fld id="{EFF4D7D2-636D-40D9-93B6-0CBAC255A5A5}" type="slidenum">
              <a:rPr lang="en-US" sz="1200" smtClean="0"/>
              <a:t>5</a:t>
            </a:fld>
            <a:endParaRPr lang="en-US" sz="1200" dirty="0"/>
          </a:p>
        </p:txBody>
      </p:sp>
      <p:sp>
        <p:nvSpPr>
          <p:cNvPr id="19" name="Callout: Line 18">
            <a:extLst>
              <a:ext uri="{FF2B5EF4-FFF2-40B4-BE49-F238E27FC236}">
                <a16:creationId xmlns:a16="http://schemas.microsoft.com/office/drawing/2014/main" id="{4F581ABB-C820-E583-CB89-2042AFAC3896}"/>
              </a:ext>
            </a:extLst>
          </p:cNvPr>
          <p:cNvSpPr/>
          <p:nvPr/>
        </p:nvSpPr>
        <p:spPr>
          <a:xfrm>
            <a:off x="2316481" y="3019280"/>
            <a:ext cx="941832" cy="635794"/>
          </a:xfrm>
          <a:prstGeom prst="borderCallout1">
            <a:avLst>
              <a:gd name="adj1" fmla="val -1386"/>
              <a:gd name="adj2" fmla="val 49919"/>
              <a:gd name="adj3" fmla="val -144938"/>
              <a:gd name="adj4" fmla="val 48075"/>
            </a:avLst>
          </a:prstGeom>
          <a:ln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dirty="0">
                <a:solidFill>
                  <a:schemeClr val="bg1"/>
                </a:solidFill>
              </a:rPr>
              <a:t>Wealth effect</a:t>
            </a:r>
          </a:p>
        </p:txBody>
      </p:sp>
      <p:sp>
        <p:nvSpPr>
          <p:cNvPr id="20" name="Callout: Line 19">
            <a:extLst>
              <a:ext uri="{FF2B5EF4-FFF2-40B4-BE49-F238E27FC236}">
                <a16:creationId xmlns:a16="http://schemas.microsoft.com/office/drawing/2014/main" id="{3BC134D4-9B2F-CAF6-012C-842E4C1F85F7}"/>
              </a:ext>
            </a:extLst>
          </p:cNvPr>
          <p:cNvSpPr/>
          <p:nvPr/>
        </p:nvSpPr>
        <p:spPr>
          <a:xfrm>
            <a:off x="3560064" y="3019280"/>
            <a:ext cx="1578864" cy="635794"/>
          </a:xfrm>
          <a:prstGeom prst="borderCallout1">
            <a:avLst>
              <a:gd name="adj1" fmla="val -1386"/>
              <a:gd name="adj2" fmla="val 49919"/>
              <a:gd name="adj3" fmla="val -130556"/>
              <a:gd name="adj4" fmla="val 27412"/>
            </a:avLst>
          </a:prstGeom>
          <a:ln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dirty="0">
                <a:solidFill>
                  <a:schemeClr val="bg1"/>
                </a:solidFill>
              </a:rPr>
              <a:t>Precautionary effect</a:t>
            </a:r>
          </a:p>
        </p:txBody>
      </p:sp>
      <p:sp>
        <p:nvSpPr>
          <p:cNvPr id="21" name="Callout: Line 20">
            <a:extLst>
              <a:ext uri="{FF2B5EF4-FFF2-40B4-BE49-F238E27FC236}">
                <a16:creationId xmlns:a16="http://schemas.microsoft.com/office/drawing/2014/main" id="{CFCA30BF-C116-54E3-1D2F-C820E800C5FF}"/>
              </a:ext>
            </a:extLst>
          </p:cNvPr>
          <p:cNvSpPr/>
          <p:nvPr/>
        </p:nvSpPr>
        <p:spPr>
          <a:xfrm>
            <a:off x="5483352" y="3019280"/>
            <a:ext cx="1456944" cy="635794"/>
          </a:xfrm>
          <a:prstGeom prst="borderCallout1">
            <a:avLst>
              <a:gd name="adj1" fmla="val -1386"/>
              <a:gd name="adj2" fmla="val 49919"/>
              <a:gd name="adj3" fmla="val -146376"/>
              <a:gd name="adj4" fmla="val -21542"/>
            </a:avLst>
          </a:prstGeom>
          <a:ln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dirty="0">
                <a:solidFill>
                  <a:schemeClr val="bg1"/>
                </a:solidFill>
              </a:rPr>
              <a:t>Risk Premium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027B38A1-D41A-C52F-5C2A-9FC199FFFE58}"/>
                  </a:ext>
                </a:extLst>
              </p:cNvPr>
              <p:cNvSpPr txBox="1"/>
              <p:nvPr/>
            </p:nvSpPr>
            <p:spPr>
              <a:xfrm>
                <a:off x="7811773" y="2812923"/>
                <a:ext cx="4290809" cy="1048508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/>
              <a:lstStyle>
                <a:defPPr>
                  <a:defRPr lang="en-US"/>
                </a:defPPr>
                <a:lvl1pPr indent="0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defRPr sz="1600"/>
                </a:lvl1pPr>
                <a:lvl2pPr marL="6858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/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/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5pPr>
                <a:lvl6pPr marL="25146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6pPr>
                <a:lvl7pPr marL="29718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7pPr>
                <a:lvl8pPr marL="3429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8pPr>
                <a:lvl9pPr marL="3886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800" i="1"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𝛼</m:t>
                      </m:r>
                      <m:r>
                        <m:rPr>
                          <m:sty m:val="p"/>
                        </m:rPr>
                        <a:rPr lang="en-US" sz="2800" i="1"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cov</m:t>
                      </m:r>
                      <m:d>
                        <m:dPr>
                          <m:ctrlPr>
                            <a:rPr lang="en-US" sz="2800" i="1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</m:ctrlPr>
                        </m:dPr>
                        <m:e>
                          <m:r>
                            <m:rPr>
                              <m:sty m:val="p"/>
                            </m:rPr>
                            <a:rPr lang="en-US" sz="2800" i="1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ln</m:t>
                          </m:r>
                          <m:f>
                            <m:fPr>
                              <m:ctrlPr>
                                <a:rPr lang="en-US" sz="2800" i="1"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</m:ctrlPr>
                            </m:fPr>
                            <m:num>
                              <m:sSub>
                                <m:sSubPr>
                                  <m:ctrlPr>
                                    <a:rPr lang="en-US" sz="2800" i="1"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</m:ctrlPr>
                                </m:sSubPr>
                                <m:e>
                                  <m:sSub>
                                    <m:sSubPr>
                                      <m:ctrlPr>
                                        <a:rPr lang="en-US" sz="2800" i="1">
                                          <a:latin typeface="Cambria Math" panose="02040503050406030204" pitchFamily="18" charset="0"/>
                                          <a:ea typeface="Times New Roman" panose="02020603050405020304" pitchFamily="18" charset="0"/>
                                          <a:cs typeface="Times New Roman" panose="020206030504050203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2800" i="1">
                                          <a:latin typeface="Cambria Math" panose="02040503050406030204" pitchFamily="18" charset="0"/>
                                          <a:ea typeface="Times New Roman" panose="02020603050405020304" pitchFamily="18" charset="0"/>
                                          <a:cs typeface="Times New Roman" panose="02020603050405020304" pitchFamily="18" charset="0"/>
                                        </a:rPr>
                                        <m:t>𝛾</m:t>
                                      </m:r>
                                    </m:e>
                                    <m:sub>
                                      <m:r>
                                        <a:rPr lang="en-US" sz="2800" i="1">
                                          <a:latin typeface="Cambria Math" panose="02040503050406030204" pitchFamily="18" charset="0"/>
                                          <a:ea typeface="Times New Roman" panose="02020603050405020304" pitchFamily="18" charset="0"/>
                                          <a:cs typeface="Times New Roman" panose="02020603050405020304" pitchFamily="18" charset="0"/>
                                        </a:rPr>
                                        <m:t>𝑡</m:t>
                                      </m:r>
                                    </m:sub>
                                  </m:sSub>
                                  <m:r>
                                    <a:rPr lang="en-US" sz="2800" i="1"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en-US" sz="2800" i="1"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</m:num>
                            <m:den>
                              <m:sSub>
                                <m:sSubPr>
                                  <m:ctrlPr>
                                    <a:rPr lang="en-US" sz="2800" i="1"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</m:ctrlPr>
                                </m:sSubPr>
                                <m:e>
                                  <m:sSub>
                                    <m:sSubPr>
                                      <m:ctrlPr>
                                        <a:rPr lang="en-US" sz="2800" i="1">
                                          <a:latin typeface="Cambria Math" panose="02040503050406030204" pitchFamily="18" charset="0"/>
                                          <a:ea typeface="Times New Roman" panose="02020603050405020304" pitchFamily="18" charset="0"/>
                                          <a:cs typeface="Times New Roman" panose="020206030504050203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2800" i="1">
                                          <a:latin typeface="Cambria Math" panose="02040503050406030204" pitchFamily="18" charset="0"/>
                                          <a:ea typeface="Times New Roman" panose="02020603050405020304" pitchFamily="18" charset="0"/>
                                          <a:cs typeface="Times New Roman" panose="02020603050405020304" pitchFamily="18" charset="0"/>
                                        </a:rPr>
                                        <m:t>𝛾</m:t>
                                      </m:r>
                                    </m:e>
                                    <m:sub>
                                      <m:r>
                                        <a:rPr lang="en-US" sz="2800" i="1">
                                          <a:latin typeface="Cambria Math" panose="02040503050406030204" pitchFamily="18" charset="0"/>
                                          <a:ea typeface="Times New Roman" panose="02020603050405020304" pitchFamily="18" charset="0"/>
                                          <a:cs typeface="Times New Roman" panose="02020603050405020304" pitchFamily="18" charset="0"/>
                                        </a:rPr>
                                        <m:t>𝑡</m:t>
                                      </m:r>
                                      <m:r>
                                        <a:rPr lang="en-US" sz="2800" i="1">
                                          <a:latin typeface="Cambria Math" panose="02040503050406030204" pitchFamily="18" charset="0"/>
                                          <a:ea typeface="Times New Roman" panose="02020603050405020304" pitchFamily="18" charset="0"/>
                                          <a:cs typeface="Times New Roman" panose="02020603050405020304" pitchFamily="18" charset="0"/>
                                        </a:rPr>
                                        <m:t>−1</m:t>
                                      </m:r>
                                    </m:sub>
                                  </m:sSub>
                                  <m:r>
                                    <a:rPr lang="en-US" sz="2800" i="1"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en-US" sz="2800" i="1"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𝑡</m:t>
                                  </m:r>
                                  <m:r>
                                    <a:rPr lang="en-US" sz="2800" i="1"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−1</m:t>
                                  </m:r>
                                </m:sub>
                              </m:sSub>
                            </m:den>
                          </m:f>
                          <m:r>
                            <a:rPr lang="en-US" sz="2800" i="1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, </m:t>
                          </m:r>
                          <m:r>
                            <m:rPr>
                              <m:sty m:val="p"/>
                            </m:rPr>
                            <a:rPr lang="en-US" sz="2800" i="1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ln</m:t>
                          </m:r>
                          <m:f>
                            <m:fPr>
                              <m:ctrlPr>
                                <a:rPr lang="en-US" sz="2800" i="1"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</m:ctrlPr>
                            </m:fPr>
                            <m:num>
                              <m:sSub>
                                <m:sSubPr>
                                  <m:ctrlPr>
                                    <a:rPr lang="en-US" sz="2800" i="1"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2800" i="1"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𝐶</m:t>
                                  </m:r>
                                </m:e>
                                <m:sub>
                                  <m:r>
                                    <a:rPr lang="en-US" sz="2800" i="1"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</m:num>
                            <m:den>
                              <m:sSub>
                                <m:sSubPr>
                                  <m:ctrlPr>
                                    <a:rPr lang="en-US" sz="2800" i="1"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2800" i="1"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𝐶</m:t>
                                  </m:r>
                                </m:e>
                                <m:sub>
                                  <m:r>
                                    <a:rPr lang="en-US" sz="2800" i="1"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𝑡</m:t>
                                  </m:r>
                                  <m:r>
                                    <a:rPr lang="en-US" sz="2800" i="1"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−1</m:t>
                                  </m:r>
                                </m:sub>
                              </m:sSub>
                            </m:den>
                          </m:f>
                        </m:e>
                      </m:d>
                    </m:oMath>
                  </m:oMathPara>
                </a14:m>
                <a:endParaRPr lang="en-US" sz="2800" i="1" dirty="0">
                  <a:latin typeface="Cambria Math" panose="02040503050406030204" pitchFamily="18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endParaRPr lang="en-US" sz="2000" dirty="0">
                  <a:latin typeface="Cambria" panose="02040503050406030204" pitchFamily="18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endParaRPr lang="en-US" sz="2000" dirty="0">
                  <a:latin typeface="Cambria" panose="02040503050406030204" pitchFamily="18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endParaRPr lang="en-US" sz="2000" dirty="0">
                  <a:latin typeface="Cambria" panose="02040503050406030204" pitchFamily="18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endParaRPr lang="en-US" sz="2000" dirty="0">
                  <a:effectLst/>
                  <a:latin typeface="Cambria" panose="02040503050406030204" pitchFamily="18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endParaRPr lang="en-US" sz="2000" dirty="0">
                  <a:effectLst/>
                  <a:latin typeface="Cambria" panose="02040503050406030204" pitchFamily="18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027B38A1-D41A-C52F-5C2A-9FC199FFFE5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11773" y="2812923"/>
                <a:ext cx="4290809" cy="104850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53E29FEC-976E-F305-F2C9-6E96C304F8F5}"/>
                  </a:ext>
                </a:extLst>
              </p:cNvPr>
              <p:cNvSpPr txBox="1"/>
              <p:nvPr/>
            </p:nvSpPr>
            <p:spPr>
              <a:xfrm>
                <a:off x="3898761" y="1564930"/>
                <a:ext cx="2000250" cy="523220"/>
              </a:xfrm>
              <a:prstGeom prst="rect">
                <a:avLst/>
              </a:prstGeom>
              <a:noFill/>
              <a:ln w="6350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en-US" sz="2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+</m:t>
                      </m:r>
                      <m:r>
                        <a:rPr kumimoji="0" lang="en-US" sz="2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𝛼𝛽</m:t>
                      </m:r>
                      <m:sSup>
                        <m:sSupPr>
                          <m:ctrlPr>
                            <a:rPr kumimoji="0" lang="en-US" sz="28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</m:ctrlPr>
                        </m:sSupPr>
                        <m:e>
                          <m:r>
                            <a:rPr kumimoji="0" lang="en-US" sz="28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𝜎</m:t>
                          </m:r>
                        </m:e>
                        <m:sup>
                          <m:r>
                            <a:rPr kumimoji="0" lang="en-US" sz="28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2</m:t>
                          </m:r>
                        </m:sup>
                      </m:sSup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53E29FEC-976E-F305-F2C9-6E96C304F8F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98761" y="1564930"/>
                <a:ext cx="2000250" cy="523220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  <a:ln w="6350">
                <a:noFill/>
                <a:miter lim="800000"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FA951B0C-6E7D-2D71-AA80-84E601B0B372}"/>
                  </a:ext>
                </a:extLst>
              </p:cNvPr>
              <p:cNvSpPr txBox="1"/>
              <p:nvPr/>
            </p:nvSpPr>
            <p:spPr>
              <a:xfrm>
                <a:off x="1854479" y="1561697"/>
                <a:ext cx="413766" cy="557717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6350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28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kumimoji="0" lang="en-US" sz="28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𝑟</m:t>
                          </m:r>
                        </m:e>
                        <m:sub>
                          <m:r>
                            <a:rPr kumimoji="0" lang="en-US" sz="28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𝑓</m:t>
                          </m:r>
                        </m:sub>
                      </m:sSub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FA951B0C-6E7D-2D71-AA80-84E601B0B37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54479" y="1561697"/>
                <a:ext cx="413766" cy="557717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  <a:ln w="6350">
                <a:noFill/>
                <a:miter lim="800000"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349655D9-707D-C7CB-2C3B-C0B7D4FDCABC}"/>
                  </a:ext>
                </a:extLst>
              </p:cNvPr>
              <p:cNvSpPr txBox="1"/>
              <p:nvPr/>
            </p:nvSpPr>
            <p:spPr>
              <a:xfrm>
                <a:off x="1849143" y="1571466"/>
                <a:ext cx="413766" cy="539496"/>
              </a:xfrm>
              <a:prstGeom prst="rect">
                <a:avLst/>
              </a:prstGeom>
              <a:solidFill>
                <a:schemeClr val="accent3">
                  <a:lumMod val="75000"/>
                </a:schemeClr>
              </a:solidFill>
              <a:ln w="6350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28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kumimoji="0" lang="en-US" sz="28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𝑟</m:t>
                          </m:r>
                        </m:e>
                        <m:sub>
                          <m:r>
                            <a:rPr kumimoji="0" lang="en-US" sz="28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𝑎</m:t>
                          </m:r>
                        </m:sub>
                      </m:sSub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349655D9-707D-C7CB-2C3B-C0B7D4FDCAB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49143" y="1571466"/>
                <a:ext cx="413766" cy="539496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  <a:ln w="6350">
                <a:noFill/>
                <a:miter lim="800000"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2" name="Arrow: Right 31">
            <a:extLst>
              <a:ext uri="{FF2B5EF4-FFF2-40B4-BE49-F238E27FC236}">
                <a16:creationId xmlns:a16="http://schemas.microsoft.com/office/drawing/2014/main" id="{2EB2390D-975B-9D08-9DCC-BF72CE9B02A4}"/>
              </a:ext>
            </a:extLst>
          </p:cNvPr>
          <p:cNvSpPr/>
          <p:nvPr/>
        </p:nvSpPr>
        <p:spPr>
          <a:xfrm>
            <a:off x="7052138" y="3115321"/>
            <a:ext cx="737344" cy="443711"/>
          </a:xfrm>
          <a:prstGeom prst="rightArrow">
            <a:avLst/>
          </a:prstGeom>
          <a:solidFill>
            <a:schemeClr val="accent2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95523318-60FB-A392-B785-589949CCB405}"/>
              </a:ext>
            </a:extLst>
          </p:cNvPr>
          <p:cNvGrpSpPr/>
          <p:nvPr/>
        </p:nvGrpSpPr>
        <p:grpSpPr>
          <a:xfrm>
            <a:off x="1226846" y="3993021"/>
            <a:ext cx="10111714" cy="1053591"/>
            <a:chOff x="629396" y="3993748"/>
            <a:chExt cx="10933208" cy="1905064"/>
          </a:xfrm>
        </p:grpSpPr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B8BA6D8-9DF9-F30D-6CB0-1B2D89BD51E4}"/>
                </a:ext>
              </a:extLst>
            </p:cNvPr>
            <p:cNvSpPr/>
            <p:nvPr/>
          </p:nvSpPr>
          <p:spPr>
            <a:xfrm>
              <a:off x="851346" y="4234193"/>
              <a:ext cx="10711258" cy="1664619"/>
            </a:xfrm>
            <a:custGeom>
              <a:avLst/>
              <a:gdLst>
                <a:gd name="connsiteX0" fmla="*/ 0 w 5326781"/>
                <a:gd name="connsiteY0" fmla="*/ 0 h 1664619"/>
                <a:gd name="connsiteX1" fmla="*/ 5326781 w 5326781"/>
                <a:gd name="connsiteY1" fmla="*/ 0 h 1664619"/>
                <a:gd name="connsiteX2" fmla="*/ 5326781 w 5326781"/>
                <a:gd name="connsiteY2" fmla="*/ 1664619 h 1664619"/>
                <a:gd name="connsiteX3" fmla="*/ 0 w 5326781"/>
                <a:gd name="connsiteY3" fmla="*/ 1664619 h 1664619"/>
                <a:gd name="connsiteX4" fmla="*/ 0 w 5326781"/>
                <a:gd name="connsiteY4" fmla="*/ 0 h 1664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26781" h="1664619">
                  <a:moveTo>
                    <a:pt x="0" y="0"/>
                  </a:moveTo>
                  <a:lnTo>
                    <a:pt x="5326781" y="0"/>
                  </a:lnTo>
                  <a:lnTo>
                    <a:pt x="5326781" y="1664619"/>
                  </a:lnTo>
                  <a:lnTo>
                    <a:pt x="0" y="1664619"/>
                  </a:lnTo>
                  <a:lnTo>
                    <a:pt x="0" y="0"/>
                  </a:lnTo>
                  <a:close/>
                </a:path>
              </a:pathLst>
            </a:cu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spcFirstLastPara="0" vert="horz" wrap="square" lIns="1127502" tIns="83820" rIns="83820" bIns="83820" numCol="1" spcCol="1270" anchor="ctr" anchorCtr="0">
              <a:noAutofit/>
            </a:bodyPr>
            <a:lstStyle/>
            <a:p>
              <a:pPr marL="0" lvl="0" indent="0" algn="l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200" dirty="0"/>
                <a:t>- Risk-free discount rate </a:t>
              </a:r>
              <a:br>
                <a:rPr lang="en-US" sz="2200" dirty="0"/>
              </a:br>
              <a:r>
                <a:rPr lang="en-US" sz="2200" dirty="0"/>
                <a:t>applied to</a:t>
              </a:r>
              <a:r>
                <a:rPr lang="en-US" sz="2200" kern="1200" dirty="0"/>
                <a:t> cash flows that are not correlated with consumption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1160F647-6708-9546-C78C-5FF044E31A2B}"/>
                </a:ext>
              </a:extLst>
            </p:cNvPr>
            <p:cNvSpPr/>
            <p:nvPr/>
          </p:nvSpPr>
          <p:spPr>
            <a:xfrm>
              <a:off x="629396" y="3993748"/>
              <a:ext cx="1165233" cy="1747850"/>
            </a:xfrm>
            <a:prstGeom prst="rect">
              <a:avLst/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/>
            <a:lstStyle/>
            <a:p>
              <a:endParaRPr lang="en-US"/>
            </a:p>
          </p:txBody>
        </p:sp>
      </p:grp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A7F7A1A6-67CD-8AEF-A20B-0AF436203FF3}"/>
              </a:ext>
            </a:extLst>
          </p:cNvPr>
          <p:cNvSpPr/>
          <p:nvPr/>
        </p:nvSpPr>
        <p:spPr>
          <a:xfrm>
            <a:off x="1448797" y="5437601"/>
            <a:ext cx="9906442" cy="920614"/>
          </a:xfrm>
          <a:custGeom>
            <a:avLst/>
            <a:gdLst>
              <a:gd name="connsiteX0" fmla="*/ 0 w 5323418"/>
              <a:gd name="connsiteY0" fmla="*/ 0 h 1663568"/>
              <a:gd name="connsiteX1" fmla="*/ 5323418 w 5323418"/>
              <a:gd name="connsiteY1" fmla="*/ 0 h 1663568"/>
              <a:gd name="connsiteX2" fmla="*/ 5323418 w 5323418"/>
              <a:gd name="connsiteY2" fmla="*/ 1663568 h 1663568"/>
              <a:gd name="connsiteX3" fmla="*/ 0 w 5323418"/>
              <a:gd name="connsiteY3" fmla="*/ 1663568 h 1663568"/>
              <a:gd name="connsiteX4" fmla="*/ 0 w 5323418"/>
              <a:gd name="connsiteY4" fmla="*/ 0 h 1663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3418" h="1663568">
                <a:moveTo>
                  <a:pt x="0" y="0"/>
                </a:moveTo>
                <a:lnTo>
                  <a:pt x="5323418" y="0"/>
                </a:lnTo>
                <a:lnTo>
                  <a:pt x="5323418" y="1663568"/>
                </a:lnTo>
                <a:lnTo>
                  <a:pt x="0" y="1663568"/>
                </a:lnTo>
                <a:lnTo>
                  <a:pt x="0" y="0"/>
                </a:lnTo>
                <a:close/>
              </a:path>
            </a:pathLst>
          </a:cu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spcFirstLastPara="0" vert="horz" wrap="square" lIns="1126790" tIns="83820" rIns="83820" bIns="83820" numCol="1" spcCol="1270" anchor="ctr" anchorCtr="0">
            <a:noAutofit/>
          </a:bodyPr>
          <a:lstStyle/>
          <a:p>
            <a:pPr marL="0" lvl="0" indent="0" algn="l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 dirty="0"/>
              <a:t>- Risk-adjusted discount rate </a:t>
            </a:r>
            <a:br>
              <a:rPr lang="en-US" sz="2200" kern="1200" dirty="0"/>
            </a:br>
            <a:r>
              <a:rPr lang="en-US" sz="2200" kern="1200" dirty="0"/>
              <a:t>applied to </a:t>
            </a:r>
            <a:r>
              <a:rPr lang="en-US" sz="2200" dirty="0"/>
              <a:t>o</a:t>
            </a:r>
            <a:r>
              <a:rPr lang="en-US" sz="2200" kern="1200" dirty="0"/>
              <a:t>il-related cash flows</a:t>
            </a:r>
          </a:p>
        </p:txBody>
      </p:sp>
      <p:pic>
        <p:nvPicPr>
          <p:cNvPr id="42" name="Picture 41" descr="An old railway bridge in black and white">
            <a:extLst>
              <a:ext uri="{FF2B5EF4-FFF2-40B4-BE49-F238E27FC236}">
                <a16:creationId xmlns:a16="http://schemas.microsoft.com/office/drawing/2014/main" id="{E57AE55F-ED31-DDEB-DED5-68355048B25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916" y="3956288"/>
            <a:ext cx="1516354" cy="1012212"/>
          </a:xfrm>
          <a:prstGeom prst="rect">
            <a:avLst/>
          </a:prstGeom>
        </p:spPr>
      </p:pic>
      <p:pic>
        <p:nvPicPr>
          <p:cNvPr id="44" name="Picture 43" descr="Solar panels on sunny day">
            <a:extLst>
              <a:ext uri="{FF2B5EF4-FFF2-40B4-BE49-F238E27FC236}">
                <a16:creationId xmlns:a16="http://schemas.microsoft.com/office/drawing/2014/main" id="{0F368C2A-B1BC-7777-84E9-1C515FC145F5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916" y="5261967"/>
            <a:ext cx="1540357" cy="1026905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3609E5FD-5A28-9639-6846-26AE71A1C0AA}"/>
                  </a:ext>
                </a:extLst>
              </p:cNvPr>
              <p:cNvSpPr txBox="1"/>
              <p:nvPr/>
            </p:nvSpPr>
            <p:spPr>
              <a:xfrm>
                <a:off x="910915" y="890960"/>
                <a:ext cx="10444323" cy="539378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 w="6350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>
                        <a:latin typeface="Cambria Math" panose="02040503050406030204" pitchFamily="18" charset="0"/>
                        <a:ea typeface="Cambria" panose="02040503050406030204" pitchFamily="18" charset="0"/>
                        <a:cs typeface="Times New Roman" panose="02020603050405020304" pitchFamily="18" charset="0"/>
                      </a:rPr>
                      <m:t>𝑈</m:t>
                    </m:r>
                    <m:d>
                      <m:dPr>
                        <m:ctrlPr>
                          <a:rPr lang="en-US" i="1">
                            <a:latin typeface="Cambria Math" panose="02040503050406030204" pitchFamily="18" charset="0"/>
                            <a:ea typeface="Cambria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</m:sub>
                        </m:sSub>
                      </m:e>
                    </m:d>
                    <m:r>
                      <a:rPr lang="en-US">
                        <a:latin typeface="Cambria Math" panose="02040503050406030204" pitchFamily="18" charset="0"/>
                        <a:ea typeface="Cambria" panose="02040503050406030204" pitchFamily="18" charset="0"/>
                        <a:cs typeface="Times New Roman" panose="02020603050405020304" pitchFamily="18" charset="0"/>
                      </a:rPr>
                      <m:t>=</m:t>
                    </m:r>
                    <m:f>
                      <m:fPr>
                        <m:ctrlPr>
                          <a:rPr lang="en-US" i="1">
                            <a:latin typeface="Cambria Math" panose="02040503050406030204" pitchFamily="18" charset="0"/>
                            <a:ea typeface="Cambria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fPr>
                      <m:num>
                        <m:sSubSup>
                          <m:sSubSupPr>
                            <m:ctrlPr>
                              <a:rPr lang="en-US" i="1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sSubSupPr>
                          <m:e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</m:sub>
                          <m:sup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1−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" panose="02040503050406030204" pitchFamily="18" charset="0"/>
                                <a:cs typeface="Times New Roman" panose="02020603050405020304" pitchFamily="18" charset="0"/>
                              </a:rPr>
                              <m:t>𝛼</m:t>
                            </m:r>
                          </m:sup>
                        </m:sSubSup>
                      </m:num>
                      <m:den>
                        <m:r>
                          <a:rPr lang="en-US">
                            <a:latin typeface="Cambria Math" panose="02040503050406030204" pitchFamily="18" charset="0"/>
                            <a:ea typeface="Cambria" panose="02040503050406030204" pitchFamily="18" charset="0"/>
                            <a:cs typeface="Times New Roman" panose="02020603050405020304" pitchFamily="18" charset="0"/>
                          </a:rPr>
                          <m:t>1−</m:t>
                        </m:r>
                        <m:r>
                          <a:rPr lang="en-US">
                            <a:latin typeface="Cambria Math" panose="02040503050406030204" pitchFamily="18" charset="0"/>
                            <a:ea typeface="Cambria" panose="02040503050406030204" pitchFamily="18" charset="0"/>
                            <a:cs typeface="Times New Roman" panose="02020603050405020304" pitchFamily="18" charset="0"/>
                          </a:rPr>
                          <m:t>𝛼</m:t>
                        </m:r>
                      </m:den>
                    </m:f>
                  </m:oMath>
                </a14:m>
                <a:r>
                  <a:rPr lang="en-US" dirty="0">
                    <a:latin typeface="Cambria" panose="02040503050406030204" pitchFamily="18" charset="0"/>
                    <a:ea typeface="Cambria" panose="02040503050406030204" pitchFamily="18" charset="0"/>
                    <a:cs typeface="Times New Roman" panose="02020603050405020304" pitchFamily="18" charset="0"/>
                  </a:rPr>
                  <a:t>, with </a:t>
                </a:r>
                <a14:m>
                  <m:oMath xmlns:m="http://schemas.openxmlformats.org/officeDocument/2006/math">
                    <m:r>
                      <a:rPr lang="en-US">
                        <a:latin typeface="Cambria Math" panose="02040503050406030204" pitchFamily="18" charset="0"/>
                        <a:ea typeface="Cambria" panose="02040503050406030204" pitchFamily="18" charset="0"/>
                        <a:cs typeface="Times New Roman" panose="02020603050405020304" pitchFamily="18" charset="0"/>
                      </a:rPr>
                      <m:t>𝛼</m:t>
                    </m:r>
                  </m:oMath>
                </a14:m>
                <a:r>
                  <a:rPr lang="en-US" dirty="0">
                    <a:latin typeface="Cambria" panose="02040503050406030204" pitchFamily="18" charset="0"/>
                    <a:ea typeface="Cambria" panose="02040503050406030204" pitchFamily="18" charset="0"/>
                    <a:cs typeface="Times New Roman" panose="02020603050405020304" pitchFamily="18" charset="0"/>
                  </a:rPr>
                  <a:t> constant elasticity of marginal utility of consumption or the relative risk aversion</a:t>
                </a:r>
              </a:p>
            </p:txBody>
          </p:sp>
        </mc:Choice>
        <mc:Fallback xmlns="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3609E5FD-5A28-9639-6846-26AE71A1C0A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0915" y="890960"/>
                <a:ext cx="10444323" cy="539378"/>
              </a:xfrm>
              <a:prstGeom prst="rect">
                <a:avLst/>
              </a:prstGeom>
              <a:blipFill>
                <a:blip r:embed="rId10"/>
                <a:stretch>
                  <a:fillRect b="-2247"/>
                </a:stretch>
              </a:blipFill>
              <a:ln w="6350">
                <a:noFill/>
                <a:miter lim="800000"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7236442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500"/>
                            </p:stCondLst>
                            <p:childTnLst>
                              <p:par>
                                <p:cTn id="4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1000"/>
                            </p:stCondLst>
                            <p:childTnLst>
                              <p:par>
                                <p:cTn id="4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9" grpId="0" animBg="1"/>
      <p:bldP spid="20" grpId="0" animBg="1"/>
      <p:bldP spid="21" grpId="0" animBg="1"/>
      <p:bldP spid="23" grpId="0" animBg="1"/>
      <p:bldP spid="28" grpId="0"/>
      <p:bldP spid="31" grpId="0" animBg="1"/>
      <p:bldP spid="30" grpId="0" animBg="1"/>
      <p:bldP spid="32" grpId="0" animBg="1"/>
      <p:bldP spid="39" grpId="0" animBg="1"/>
      <p:bldP spid="3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316B8079-4A76-825B-BA7C-2BAA5881359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23342" y="223718"/>
            <a:ext cx="8953795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800" spc="20" dirty="0">
                <a:solidFill>
                  <a:schemeClr val="accent1"/>
                </a:solidFill>
              </a:rPr>
              <a:t>What connection to the economic dependence on oil?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51FD9DA-198E-9CB2-345D-951617A3D39E}"/>
              </a:ext>
            </a:extLst>
          </p:cNvPr>
          <p:cNvCxnSpPr/>
          <p:nvPr/>
        </p:nvCxnSpPr>
        <p:spPr>
          <a:xfrm>
            <a:off x="526473" y="804589"/>
            <a:ext cx="3472872" cy="0"/>
          </a:xfrm>
          <a:prstGeom prst="line">
            <a:avLst/>
          </a:prstGeom>
          <a:ln w="1905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4BE48673-664C-30A4-1E2C-32D03D20A8DB}"/>
              </a:ext>
            </a:extLst>
          </p:cNvPr>
          <p:cNvSpPr txBox="1"/>
          <p:nvPr/>
        </p:nvSpPr>
        <p:spPr>
          <a:xfrm>
            <a:off x="11813997" y="6532801"/>
            <a:ext cx="288585" cy="26668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fld id="{EFF4D7D2-636D-40D9-93B6-0CBAC255A5A5}" type="slidenum">
              <a:rPr lang="en-US" sz="1200" smtClean="0"/>
              <a:t>6</a:t>
            </a:fld>
            <a:endParaRPr lang="en-US" sz="1200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5FF5FAB-7D7E-BFBA-15FB-C5CE9C7ADB4B}"/>
              </a:ext>
            </a:extLst>
          </p:cNvPr>
          <p:cNvSpPr/>
          <p:nvPr/>
        </p:nvSpPr>
        <p:spPr>
          <a:xfrm>
            <a:off x="1647794" y="1843462"/>
            <a:ext cx="9006293" cy="23162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8B56F81-3799-4489-B567-7BFFD1B0D9CD}"/>
              </a:ext>
            </a:extLst>
          </p:cNvPr>
          <p:cNvSpPr txBox="1"/>
          <p:nvPr/>
        </p:nvSpPr>
        <p:spPr>
          <a:xfrm>
            <a:off x="1191869" y="897234"/>
            <a:ext cx="9831377" cy="400110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en-US" sz="2000" dirty="0"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Economic dependence on oil affects public discount rates in two opposite ways </a:t>
            </a:r>
          </a:p>
        </p:txBody>
      </p:sp>
      <p:sp>
        <p:nvSpPr>
          <p:cNvPr id="24" name="Arrow: Down 23">
            <a:extLst>
              <a:ext uri="{FF2B5EF4-FFF2-40B4-BE49-F238E27FC236}">
                <a16:creationId xmlns:a16="http://schemas.microsoft.com/office/drawing/2014/main" id="{CB098AB1-4194-A6A7-2440-BABD6DE2C6EE}"/>
              </a:ext>
            </a:extLst>
          </p:cNvPr>
          <p:cNvSpPr/>
          <p:nvPr/>
        </p:nvSpPr>
        <p:spPr>
          <a:xfrm>
            <a:off x="964427" y="2555417"/>
            <a:ext cx="842615" cy="2068435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32" name="Arrow: Down 31">
            <a:extLst>
              <a:ext uri="{FF2B5EF4-FFF2-40B4-BE49-F238E27FC236}">
                <a16:creationId xmlns:a16="http://schemas.microsoft.com/office/drawing/2014/main" id="{1A9C859E-C4DF-25D7-6CBE-1BBFDEDF8FC8}"/>
              </a:ext>
            </a:extLst>
          </p:cNvPr>
          <p:cNvSpPr/>
          <p:nvPr/>
        </p:nvSpPr>
        <p:spPr>
          <a:xfrm flipV="1">
            <a:off x="10487370" y="1379322"/>
            <a:ext cx="842615" cy="2068435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graphicFrame>
        <p:nvGraphicFramePr>
          <p:cNvPr id="34" name="Diagram 33">
            <a:extLst>
              <a:ext uri="{FF2B5EF4-FFF2-40B4-BE49-F238E27FC236}">
                <a16:creationId xmlns:a16="http://schemas.microsoft.com/office/drawing/2014/main" id="{F2E07350-9F10-6FE7-40CE-5272B51AE5E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71085395"/>
              </p:ext>
            </p:extLst>
          </p:nvPr>
        </p:nvGraphicFramePr>
        <p:xfrm>
          <a:off x="1615012" y="4634738"/>
          <a:ext cx="9039076" cy="17004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Freeform: Shape 1">
            <a:extLst>
              <a:ext uri="{FF2B5EF4-FFF2-40B4-BE49-F238E27FC236}">
                <a16:creationId xmlns:a16="http://schemas.microsoft.com/office/drawing/2014/main" id="{BE154F1E-4F1F-8DB7-4B5C-2025C401D992}"/>
              </a:ext>
            </a:extLst>
          </p:cNvPr>
          <p:cNvSpPr/>
          <p:nvPr/>
        </p:nvSpPr>
        <p:spPr>
          <a:xfrm>
            <a:off x="6319631" y="2083178"/>
            <a:ext cx="4493704" cy="2193674"/>
          </a:xfrm>
          <a:custGeom>
            <a:avLst/>
            <a:gdLst>
              <a:gd name="connsiteX0" fmla="*/ 0 w 4493704"/>
              <a:gd name="connsiteY0" fmla="*/ 0 h 2193674"/>
              <a:gd name="connsiteX1" fmla="*/ 4493704 w 4493704"/>
              <a:gd name="connsiteY1" fmla="*/ 0 h 2193674"/>
              <a:gd name="connsiteX2" fmla="*/ 4493704 w 4493704"/>
              <a:gd name="connsiteY2" fmla="*/ 2193674 h 2193674"/>
              <a:gd name="connsiteX3" fmla="*/ 0 w 4493704"/>
              <a:gd name="connsiteY3" fmla="*/ 2193674 h 2193674"/>
              <a:gd name="connsiteX4" fmla="*/ 0 w 4493704"/>
              <a:gd name="connsiteY4" fmla="*/ 0 h 2193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93704" h="2193674">
                <a:moveTo>
                  <a:pt x="0" y="0"/>
                </a:moveTo>
                <a:lnTo>
                  <a:pt x="4493704" y="0"/>
                </a:lnTo>
                <a:lnTo>
                  <a:pt x="4493704" y="2193674"/>
                </a:lnTo>
                <a:lnTo>
                  <a:pt x="0" y="219367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4290" tIns="34290" rIns="34290" bIns="34290" numCol="1" spcCol="1270" anchor="t" anchorCtr="0">
            <a:noAutofit/>
          </a:bodyPr>
          <a:lstStyle/>
          <a:p>
            <a:pPr marL="0" lvl="0" indent="0" algn="l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chemeClr val="accent2"/>
              </a:buClr>
              <a:buFont typeface="Wingdings" panose="05000000000000000000" pitchFamily="2" charset="2"/>
              <a:buNone/>
            </a:pPr>
            <a:r>
              <a:rPr lang="en-US" sz="1800" kern="1200" dirty="0"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It increases the correlation between oil-related cash flows and aggregate consumption </a:t>
            </a:r>
          </a:p>
          <a:p>
            <a:pPr marL="0" lvl="0" indent="0" algn="l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chemeClr val="accent2"/>
              </a:buClr>
              <a:buFont typeface="Wingdings" panose="05000000000000000000" pitchFamily="2" charset="2"/>
              <a:buNone/>
            </a:pPr>
            <a:r>
              <a:rPr lang="en-US" sz="1800" kern="1200" dirty="0"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This yields a </a:t>
            </a:r>
            <a:r>
              <a:rPr lang="en-US" sz="1800" b="1" kern="1200" dirty="0">
                <a:solidFill>
                  <a:schemeClr val="accent4">
                    <a:lumMod val="50000"/>
                  </a:schemeClr>
                </a:solidFill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higher risk-premium</a:t>
            </a:r>
            <a:r>
              <a:rPr lang="en-US" sz="1800" kern="1200" dirty="0"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 and a lower present va</a:t>
            </a:r>
            <a:r>
              <a:rPr lang="en-US" dirty="0"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lue</a:t>
            </a:r>
            <a:r>
              <a:rPr lang="en-US" sz="1800" kern="1200" dirty="0"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 of future cash flows </a:t>
            </a:r>
            <a:endParaRPr lang="en-US" sz="1800" kern="1200" dirty="0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79E37B64-6F0A-F45A-4C6C-559B93B4F2C6}"/>
              </a:ext>
            </a:extLst>
          </p:cNvPr>
          <p:cNvSpPr/>
          <p:nvPr/>
        </p:nvSpPr>
        <p:spPr>
          <a:xfrm>
            <a:off x="1693084" y="2004453"/>
            <a:ext cx="4298316" cy="2193674"/>
          </a:xfrm>
          <a:custGeom>
            <a:avLst/>
            <a:gdLst>
              <a:gd name="connsiteX0" fmla="*/ 0 w 4298316"/>
              <a:gd name="connsiteY0" fmla="*/ 0 h 2193674"/>
              <a:gd name="connsiteX1" fmla="*/ 4298316 w 4298316"/>
              <a:gd name="connsiteY1" fmla="*/ 0 h 2193674"/>
              <a:gd name="connsiteX2" fmla="*/ 4298316 w 4298316"/>
              <a:gd name="connsiteY2" fmla="*/ 2193674 h 2193674"/>
              <a:gd name="connsiteX3" fmla="*/ 0 w 4298316"/>
              <a:gd name="connsiteY3" fmla="*/ 2193674 h 2193674"/>
              <a:gd name="connsiteX4" fmla="*/ 0 w 4298316"/>
              <a:gd name="connsiteY4" fmla="*/ 0 h 2193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98316" h="2193674">
                <a:moveTo>
                  <a:pt x="0" y="0"/>
                </a:moveTo>
                <a:lnTo>
                  <a:pt x="4298316" y="0"/>
                </a:lnTo>
                <a:lnTo>
                  <a:pt x="4298316" y="2193674"/>
                </a:lnTo>
                <a:lnTo>
                  <a:pt x="0" y="219367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4290" tIns="34290" rIns="34290" bIns="34290" numCol="1" spcCol="1270" anchor="t" anchorCtr="0">
            <a:noAutofit/>
          </a:bodyPr>
          <a:lstStyle/>
          <a:p>
            <a:pPr marL="0" lvl="0" indent="0" algn="l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chemeClr val="accent2"/>
              </a:buClr>
              <a:buFont typeface="Wingdings" panose="05000000000000000000" pitchFamily="2" charset="2"/>
              <a:buNone/>
            </a:pPr>
            <a:r>
              <a:rPr lang="en-US" sz="1800" kern="1200" dirty="0"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Oil price fluctuations make the economy more volatile </a:t>
            </a:r>
          </a:p>
          <a:p>
            <a:pPr marL="0" lvl="0" indent="0" algn="l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chemeClr val="accent2"/>
              </a:buClr>
              <a:buFont typeface="Wingdings" panose="05000000000000000000" pitchFamily="2" charset="2"/>
              <a:buNone/>
            </a:pPr>
            <a:r>
              <a:rPr lang="en-US" sz="1800" kern="1200" dirty="0"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This leads to higher aggregate uncertainty for the whole economy, </a:t>
            </a:r>
            <a:r>
              <a:rPr lang="en-US" sz="1800" b="1" kern="1200" dirty="0">
                <a:solidFill>
                  <a:schemeClr val="accent4">
                    <a:lumMod val="50000"/>
                  </a:schemeClr>
                </a:solidFill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lowering the risk-free discount rate</a:t>
            </a:r>
            <a:r>
              <a:rPr lang="en-US" sz="1800" kern="1200" dirty="0"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 and enhancing the present value of future cash flows (for precautionary reasons) </a:t>
            </a:r>
            <a:endParaRPr lang="en-US" sz="1800" kern="1200" dirty="0"/>
          </a:p>
        </p:txBody>
      </p:sp>
      <p:sp>
        <p:nvSpPr>
          <p:cNvPr id="4" name="Straight Connector 3">
            <a:extLst>
              <a:ext uri="{FF2B5EF4-FFF2-40B4-BE49-F238E27FC236}">
                <a16:creationId xmlns:a16="http://schemas.microsoft.com/office/drawing/2014/main" id="{EAD30AC1-D295-1B3A-2251-AE69BECA01E9}"/>
              </a:ext>
            </a:extLst>
          </p:cNvPr>
          <p:cNvSpPr/>
          <p:nvPr/>
        </p:nvSpPr>
        <p:spPr>
          <a:xfrm>
            <a:off x="6133836" y="2004453"/>
            <a:ext cx="570" cy="2095170"/>
          </a:xfrm>
          <a:prstGeom prst="line">
            <a:avLst/>
          </a:prstGeom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56727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22" grpId="0" animBg="1"/>
      <p:bldP spid="24" grpId="0" animBg="1"/>
      <p:bldP spid="32" grpId="0" animBg="1"/>
      <p:bldGraphic spid="34" grpId="0">
        <p:bldAsOne/>
      </p:bldGraphic>
      <p:bldP spid="2" grpId="0"/>
      <p:bldP spid="3" grpId="0"/>
      <p:bldP spid="4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text, diagram, plot, line&#10;&#10;Description automatically generated">
            <a:extLst>
              <a:ext uri="{FF2B5EF4-FFF2-40B4-BE49-F238E27FC236}">
                <a16:creationId xmlns:a16="http://schemas.microsoft.com/office/drawing/2014/main" id="{AEE70977-5991-F9A4-8400-3B020406FF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04" y="615658"/>
            <a:ext cx="6623109" cy="4818029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object 2">
            <a:extLst>
              <a:ext uri="{FF2B5EF4-FFF2-40B4-BE49-F238E27FC236}">
                <a16:creationId xmlns:a16="http://schemas.microsoft.com/office/drawing/2014/main" id="{316B8079-4A76-825B-BA7C-2BAA5881359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23342" y="223718"/>
            <a:ext cx="11364442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800" spc="20" dirty="0">
                <a:solidFill>
                  <a:schemeClr val="accent1"/>
                </a:solidFill>
              </a:rPr>
              <a:t>Focus on GCC: The per capita consumption paradox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51FD9DA-198E-9CB2-345D-951617A3D39E}"/>
              </a:ext>
            </a:extLst>
          </p:cNvPr>
          <p:cNvCxnSpPr/>
          <p:nvPr/>
        </p:nvCxnSpPr>
        <p:spPr>
          <a:xfrm>
            <a:off x="526473" y="804589"/>
            <a:ext cx="3472872" cy="0"/>
          </a:xfrm>
          <a:prstGeom prst="line">
            <a:avLst/>
          </a:prstGeom>
          <a:ln w="1905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84C9CC2E-7B95-C53B-CF0A-3BA838F943A4}"/>
              </a:ext>
            </a:extLst>
          </p:cNvPr>
          <p:cNvSpPr txBox="1"/>
          <p:nvPr/>
        </p:nvSpPr>
        <p:spPr>
          <a:xfrm>
            <a:off x="11813997" y="6532801"/>
            <a:ext cx="288585" cy="26668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fld id="{EFF4D7D2-636D-40D9-93B6-0CBAC255A5A5}" type="slidenum">
              <a:rPr lang="en-US" sz="1200" smtClean="0"/>
              <a:t>7</a:t>
            </a:fld>
            <a:endParaRPr lang="en-US" sz="12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18D41A7-5641-9557-108F-8F3505EB4F3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5549" y="1002915"/>
            <a:ext cx="5356842" cy="3898493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85B73DE7-7D97-52DA-560D-0DDE19BB7EBC}"/>
              </a:ext>
            </a:extLst>
          </p:cNvPr>
          <p:cNvSpPr/>
          <p:nvPr/>
        </p:nvSpPr>
        <p:spPr>
          <a:xfrm>
            <a:off x="6944629" y="5157945"/>
            <a:ext cx="4971872" cy="603587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dirty="0">
                <a:solidFill>
                  <a:schemeClr val="bg1"/>
                </a:solidFill>
              </a:rPr>
              <a:t>Mitigating a potential bias: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dirty="0">
                <a:solidFill>
                  <a:schemeClr val="bg1"/>
                </a:solidFill>
              </a:rPr>
              <a:t>Growth leads to more expatriate workers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71DA0E0-7083-DA10-CDF3-51046BE47851}"/>
              </a:ext>
            </a:extLst>
          </p:cNvPr>
          <p:cNvSpPr/>
          <p:nvPr/>
        </p:nvSpPr>
        <p:spPr>
          <a:xfrm>
            <a:off x="140394" y="5403118"/>
            <a:ext cx="6430357" cy="548680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dirty="0">
                <a:solidFill>
                  <a:schemeClr val="bg1"/>
                </a:solidFill>
              </a:rPr>
              <a:t>High volatility in GCC countries: Avg. std. dev. of </a:t>
            </a:r>
            <a:r>
              <a:rPr lang="en-US" b="1" dirty="0">
                <a:solidFill>
                  <a:schemeClr val="bg1"/>
                </a:solidFill>
              </a:rPr>
              <a:t>0.083</a:t>
            </a:r>
            <a:r>
              <a:rPr lang="en-US" dirty="0">
                <a:solidFill>
                  <a:schemeClr val="bg1"/>
                </a:solidFill>
              </a:rPr>
              <a:t> 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six times higher than OECD countries and the USA 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AE00A50-757E-CCDC-E53B-53774781347B}"/>
              </a:ext>
            </a:extLst>
          </p:cNvPr>
          <p:cNvCxnSpPr/>
          <p:nvPr/>
        </p:nvCxnSpPr>
        <p:spPr>
          <a:xfrm>
            <a:off x="6622067" y="667429"/>
            <a:ext cx="71611" cy="5342862"/>
          </a:xfrm>
          <a:prstGeom prst="line">
            <a:avLst/>
          </a:prstGeom>
          <a:ln w="47625" cap="flat">
            <a:solidFill>
              <a:schemeClr val="accent2">
                <a:lumMod val="7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C5B5A68A-9EA1-DF4B-203B-F843B3CA7AA0}"/>
              </a:ext>
            </a:extLst>
          </p:cNvPr>
          <p:cNvSpPr txBox="1"/>
          <p:nvPr/>
        </p:nvSpPr>
        <p:spPr>
          <a:xfrm>
            <a:off x="92648" y="5966737"/>
            <a:ext cx="660103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Gross consumption </a:t>
            </a:r>
            <a:r>
              <a:rPr lang="en-US" sz="1100" dirty="0"/>
              <a:t>data are from WB and include both private and public consumption of all goods and services </a:t>
            </a:r>
            <a:r>
              <a:rPr lang="en-US" sz="1100" b="1" dirty="0"/>
              <a:t>Population</a:t>
            </a:r>
            <a:r>
              <a:rPr lang="en-US" sz="1100" dirty="0"/>
              <a:t> data are from national statistical offices as well as WB and UN Global Migration databases</a:t>
            </a:r>
            <a:endParaRPr lang="en-US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40995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0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 animBg="1"/>
      <p:bldP spid="8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316B8079-4A76-825B-BA7C-2BAA5881359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23342" y="223718"/>
            <a:ext cx="10610919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800" spc="20" dirty="0">
                <a:solidFill>
                  <a:schemeClr val="accent1"/>
                </a:solidFill>
              </a:rPr>
              <a:t>Country-specific and pooled real public discount rates (in percent)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51FD9DA-198E-9CB2-345D-951617A3D39E}"/>
              </a:ext>
            </a:extLst>
          </p:cNvPr>
          <p:cNvCxnSpPr/>
          <p:nvPr/>
        </p:nvCxnSpPr>
        <p:spPr>
          <a:xfrm>
            <a:off x="526473" y="804589"/>
            <a:ext cx="3472872" cy="0"/>
          </a:xfrm>
          <a:prstGeom prst="line">
            <a:avLst/>
          </a:prstGeom>
          <a:ln w="1905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587E219F-0BFC-421B-5072-FF8FB190F363}"/>
              </a:ext>
            </a:extLst>
          </p:cNvPr>
          <p:cNvSpPr txBox="1"/>
          <p:nvPr/>
        </p:nvSpPr>
        <p:spPr>
          <a:xfrm>
            <a:off x="11813997" y="6532801"/>
            <a:ext cx="288585" cy="26668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fld id="{EFF4D7D2-636D-40D9-93B6-0CBAC255A5A5}" type="slidenum">
              <a:rPr lang="en-US" sz="1200" smtClean="0"/>
              <a:t>8</a:t>
            </a:fld>
            <a:endParaRPr lang="en-US" sz="1200" dirty="0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397BAFC0-6933-08DE-A07E-408B5A3222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3965830"/>
              </p:ext>
            </p:extLst>
          </p:nvPr>
        </p:nvGraphicFramePr>
        <p:xfrm>
          <a:off x="276537" y="941750"/>
          <a:ext cx="6014535" cy="5190254"/>
        </p:xfrm>
        <a:graphic>
          <a:graphicData uri="http://schemas.openxmlformats.org/drawingml/2006/table">
            <a:tbl>
              <a:tblPr firstRow="1" firstCol="1" bandRow="1">
                <a:tableStyleId>{F5AB1C69-6EDB-4FF4-983F-18BD219EF322}</a:tableStyleId>
              </a:tblPr>
              <a:tblGrid>
                <a:gridCol w="1199481">
                  <a:extLst>
                    <a:ext uri="{9D8B030D-6E8A-4147-A177-3AD203B41FA5}">
                      <a16:colId xmlns:a16="http://schemas.microsoft.com/office/drawing/2014/main" val="480740564"/>
                    </a:ext>
                  </a:extLst>
                </a:gridCol>
                <a:gridCol w="2461880">
                  <a:extLst>
                    <a:ext uri="{9D8B030D-6E8A-4147-A177-3AD203B41FA5}">
                      <a16:colId xmlns:a16="http://schemas.microsoft.com/office/drawing/2014/main" val="1557661895"/>
                    </a:ext>
                  </a:extLst>
                </a:gridCol>
                <a:gridCol w="2353174">
                  <a:extLst>
                    <a:ext uri="{9D8B030D-6E8A-4147-A177-3AD203B41FA5}">
                      <a16:colId xmlns:a16="http://schemas.microsoft.com/office/drawing/2014/main" val="3531330551"/>
                    </a:ext>
                  </a:extLst>
                </a:gridCol>
              </a:tblGrid>
              <a:tr h="29020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Country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Risk-free discount rate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Risk-adjusted discount rate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extLst>
                  <a:ext uri="{0D108BD9-81ED-4DB2-BD59-A6C34878D82A}">
                    <a16:rowId xmlns:a16="http://schemas.microsoft.com/office/drawing/2014/main" val="3955433509"/>
                  </a:ext>
                </a:extLst>
              </a:tr>
              <a:tr h="26024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Algeria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3.99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4.43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extLst>
                  <a:ext uri="{0D108BD9-81ED-4DB2-BD59-A6C34878D82A}">
                    <a16:rowId xmlns:a16="http://schemas.microsoft.com/office/drawing/2014/main" val="4271507827"/>
                  </a:ext>
                </a:extLst>
              </a:tr>
              <a:tr h="26024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Angola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0.51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>
                          <a:solidFill>
                            <a:schemeClr val="tx1"/>
                          </a:solidFill>
                          <a:effectLst/>
                        </a:rPr>
                        <a:t>1.83</a:t>
                      </a:r>
                      <a:endParaRPr lang="en-US" sz="165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extLst>
                  <a:ext uri="{0D108BD9-81ED-4DB2-BD59-A6C34878D82A}">
                    <a16:rowId xmlns:a16="http://schemas.microsoft.com/office/drawing/2014/main" val="940343263"/>
                  </a:ext>
                </a:extLst>
              </a:tr>
              <a:tr h="26024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Bahrain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3.87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5.22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5834174"/>
                  </a:ext>
                </a:extLst>
              </a:tr>
              <a:tr h="26024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Brunei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2.61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3.03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extLst>
                  <a:ext uri="{0D108BD9-81ED-4DB2-BD59-A6C34878D82A}">
                    <a16:rowId xmlns:a16="http://schemas.microsoft.com/office/drawing/2014/main" val="1239268466"/>
                  </a:ext>
                </a:extLst>
              </a:tr>
              <a:tr h="26024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>
                          <a:solidFill>
                            <a:schemeClr val="tx1"/>
                          </a:solidFill>
                          <a:effectLst/>
                        </a:rPr>
                        <a:t>Cameroon</a:t>
                      </a:r>
                      <a:endParaRPr lang="en-US" sz="165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>
                          <a:solidFill>
                            <a:schemeClr val="tx1"/>
                          </a:solidFill>
                          <a:effectLst/>
                        </a:rPr>
                        <a:t>3.19</a:t>
                      </a:r>
                      <a:endParaRPr lang="en-US" sz="165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3.37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extLst>
                  <a:ext uri="{0D108BD9-81ED-4DB2-BD59-A6C34878D82A}">
                    <a16:rowId xmlns:a16="http://schemas.microsoft.com/office/drawing/2014/main" val="2894683518"/>
                  </a:ext>
                </a:extLst>
              </a:tr>
              <a:tr h="26024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>
                          <a:solidFill>
                            <a:schemeClr val="tx1"/>
                          </a:solidFill>
                          <a:effectLst/>
                        </a:rPr>
                        <a:t>Chad</a:t>
                      </a:r>
                      <a:endParaRPr lang="en-US" sz="165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-0.51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2.02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extLst>
                  <a:ext uri="{0D108BD9-81ED-4DB2-BD59-A6C34878D82A}">
                    <a16:rowId xmlns:a16="http://schemas.microsoft.com/office/drawing/2014/main" val="2607579514"/>
                  </a:ext>
                </a:extLst>
              </a:tr>
              <a:tr h="26024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>
                          <a:solidFill>
                            <a:schemeClr val="tx1"/>
                          </a:solidFill>
                          <a:effectLst/>
                        </a:rPr>
                        <a:t>Gabon</a:t>
                      </a:r>
                      <a:endParaRPr lang="en-US" sz="165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>
                          <a:solidFill>
                            <a:schemeClr val="tx1"/>
                          </a:solidFill>
                          <a:effectLst/>
                        </a:rPr>
                        <a:t>0.23</a:t>
                      </a:r>
                      <a:endParaRPr lang="en-US" sz="165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0.33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extLst>
                  <a:ext uri="{0D108BD9-81ED-4DB2-BD59-A6C34878D82A}">
                    <a16:rowId xmlns:a16="http://schemas.microsoft.com/office/drawing/2014/main" val="1880744583"/>
                  </a:ext>
                </a:extLst>
              </a:tr>
              <a:tr h="26024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>
                          <a:solidFill>
                            <a:schemeClr val="tx1"/>
                          </a:solidFill>
                          <a:effectLst/>
                        </a:rPr>
                        <a:t>Iraq</a:t>
                      </a:r>
                      <a:endParaRPr lang="en-US" sz="165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2.32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3.81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extLst>
                  <a:ext uri="{0D108BD9-81ED-4DB2-BD59-A6C34878D82A}">
                    <a16:rowId xmlns:a16="http://schemas.microsoft.com/office/drawing/2014/main" val="1715477451"/>
                  </a:ext>
                </a:extLst>
              </a:tr>
              <a:tr h="26024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>
                          <a:solidFill>
                            <a:schemeClr val="tx1"/>
                          </a:solidFill>
                          <a:effectLst/>
                        </a:rPr>
                        <a:t>Iran</a:t>
                      </a:r>
                      <a:endParaRPr lang="en-US" sz="165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>
                          <a:solidFill>
                            <a:schemeClr val="tx1"/>
                          </a:solidFill>
                          <a:effectLst/>
                        </a:rPr>
                        <a:t>2.37</a:t>
                      </a:r>
                      <a:endParaRPr lang="en-US" sz="165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3.11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extLst>
                  <a:ext uri="{0D108BD9-81ED-4DB2-BD59-A6C34878D82A}">
                    <a16:rowId xmlns:a16="http://schemas.microsoft.com/office/drawing/2014/main" val="1568626559"/>
                  </a:ext>
                </a:extLst>
              </a:tr>
              <a:tr h="26024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>
                          <a:solidFill>
                            <a:schemeClr val="tx1"/>
                          </a:solidFill>
                          <a:effectLst/>
                        </a:rPr>
                        <a:t>Kazakhstan</a:t>
                      </a:r>
                      <a:endParaRPr lang="en-US" sz="165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>
                          <a:solidFill>
                            <a:schemeClr val="tx1"/>
                          </a:solidFill>
                          <a:effectLst/>
                        </a:rPr>
                        <a:t>9.88</a:t>
                      </a:r>
                      <a:endParaRPr lang="en-US" sz="165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11.21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extLst>
                  <a:ext uri="{0D108BD9-81ED-4DB2-BD59-A6C34878D82A}">
                    <a16:rowId xmlns:a16="http://schemas.microsoft.com/office/drawing/2014/main" val="3263459273"/>
                  </a:ext>
                </a:extLst>
              </a:tr>
              <a:tr h="26024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>
                          <a:solidFill>
                            <a:schemeClr val="tx1"/>
                          </a:solidFill>
                          <a:effectLst/>
                        </a:rPr>
                        <a:t>Kuwait</a:t>
                      </a:r>
                      <a:endParaRPr lang="en-US" sz="165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>
                          <a:solidFill>
                            <a:schemeClr val="tx1"/>
                          </a:solidFill>
                          <a:effectLst/>
                        </a:rPr>
                        <a:t>0.43</a:t>
                      </a:r>
                      <a:endParaRPr lang="en-US" sz="165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2.09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219212"/>
                  </a:ext>
                </a:extLst>
              </a:tr>
              <a:tr h="26024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>
                          <a:solidFill>
                            <a:schemeClr val="tx1"/>
                          </a:solidFill>
                          <a:effectLst/>
                        </a:rPr>
                        <a:t>Oman</a:t>
                      </a:r>
                      <a:endParaRPr lang="en-US" sz="165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>
                          <a:solidFill>
                            <a:schemeClr val="tx1"/>
                          </a:solidFill>
                          <a:effectLst/>
                        </a:rPr>
                        <a:t>7.06</a:t>
                      </a:r>
                      <a:endParaRPr lang="en-US" sz="165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8.39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1095036"/>
                  </a:ext>
                </a:extLst>
              </a:tr>
              <a:tr h="26024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Qatar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13.42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17.37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8727184"/>
                  </a:ext>
                </a:extLst>
              </a:tr>
              <a:tr h="26024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>
                          <a:solidFill>
                            <a:schemeClr val="tx1"/>
                          </a:solidFill>
                          <a:effectLst/>
                        </a:rPr>
                        <a:t>Rep. Congo</a:t>
                      </a:r>
                      <a:endParaRPr lang="en-US" sz="165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>
                          <a:solidFill>
                            <a:schemeClr val="tx1"/>
                          </a:solidFill>
                          <a:effectLst/>
                        </a:rPr>
                        <a:t>-1.04</a:t>
                      </a:r>
                      <a:endParaRPr lang="en-US" sz="165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0.26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extLst>
                  <a:ext uri="{0D108BD9-81ED-4DB2-BD59-A6C34878D82A}">
                    <a16:rowId xmlns:a16="http://schemas.microsoft.com/office/drawing/2014/main" val="4272893103"/>
                  </a:ext>
                </a:extLst>
              </a:tr>
              <a:tr h="26024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>
                          <a:solidFill>
                            <a:schemeClr val="tx1"/>
                          </a:solidFill>
                          <a:effectLst/>
                        </a:rPr>
                        <a:t>Russia</a:t>
                      </a:r>
                      <a:endParaRPr lang="en-US" sz="165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>
                          <a:solidFill>
                            <a:schemeClr val="tx1"/>
                          </a:solidFill>
                          <a:effectLst/>
                        </a:rPr>
                        <a:t>7.35</a:t>
                      </a:r>
                      <a:endParaRPr lang="en-US" sz="165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9.64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extLst>
                  <a:ext uri="{0D108BD9-81ED-4DB2-BD59-A6C34878D82A}">
                    <a16:rowId xmlns:a16="http://schemas.microsoft.com/office/drawing/2014/main" val="661327821"/>
                  </a:ext>
                </a:extLst>
              </a:tr>
              <a:tr h="26024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Saudi Arabia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7.19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8.73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281184"/>
                  </a:ext>
                </a:extLst>
              </a:tr>
              <a:tr h="26024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Sudan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>
                          <a:solidFill>
                            <a:schemeClr val="tx1"/>
                          </a:solidFill>
                          <a:effectLst/>
                        </a:rPr>
                        <a:t>-0.97</a:t>
                      </a:r>
                      <a:endParaRPr lang="en-US" sz="165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-1.06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extLst>
                  <a:ext uri="{0D108BD9-81ED-4DB2-BD59-A6C34878D82A}">
                    <a16:rowId xmlns:a16="http://schemas.microsoft.com/office/drawing/2014/main" val="1072377568"/>
                  </a:ext>
                </a:extLst>
              </a:tr>
              <a:tr h="26024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UAE</a:t>
                      </a:r>
                    </a:p>
                  </a:txBody>
                  <a:tcPr marL="22705" marR="22705" marT="0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-7.07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-3.57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7761027"/>
                  </a:ext>
                </a:extLst>
              </a:tr>
            </a:tbl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F3525AAD-23E5-25E3-DDF2-27C774FC4F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0441372"/>
              </p:ext>
            </p:extLst>
          </p:nvPr>
        </p:nvGraphicFramePr>
        <p:xfrm>
          <a:off x="7151184" y="941750"/>
          <a:ext cx="4083077" cy="1423213"/>
        </p:xfrm>
        <a:graphic>
          <a:graphicData uri="http://schemas.openxmlformats.org/drawingml/2006/table">
            <a:tbl>
              <a:tblPr firstRow="1" firstCol="1" bandRow="1">
                <a:tableStyleId>{F5AB1C69-6EDB-4FF4-983F-18BD219EF322}</a:tableStyleId>
              </a:tblPr>
              <a:tblGrid>
                <a:gridCol w="1019838">
                  <a:extLst>
                    <a:ext uri="{9D8B030D-6E8A-4147-A177-3AD203B41FA5}">
                      <a16:colId xmlns:a16="http://schemas.microsoft.com/office/drawing/2014/main" val="4213336105"/>
                    </a:ext>
                  </a:extLst>
                </a:gridCol>
                <a:gridCol w="1490472">
                  <a:extLst>
                    <a:ext uri="{9D8B030D-6E8A-4147-A177-3AD203B41FA5}">
                      <a16:colId xmlns:a16="http://schemas.microsoft.com/office/drawing/2014/main" val="1070823934"/>
                    </a:ext>
                  </a:extLst>
                </a:gridCol>
                <a:gridCol w="1572767">
                  <a:extLst>
                    <a:ext uri="{9D8B030D-6E8A-4147-A177-3AD203B41FA5}">
                      <a16:colId xmlns:a16="http://schemas.microsoft.com/office/drawing/2014/main" val="3444973051"/>
                    </a:ext>
                  </a:extLst>
                </a:gridCol>
              </a:tblGrid>
              <a:tr h="763321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</a:rPr>
                        <a:t>Pooled data</a:t>
                      </a:r>
                      <a:endParaRPr lang="en-US" sz="18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Risk-free discount rate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50" b="0" dirty="0">
                          <a:solidFill>
                            <a:schemeClr val="tx1"/>
                          </a:solidFill>
                          <a:effectLst/>
                        </a:rPr>
                        <a:t>Risk-adjusted discount rate</a:t>
                      </a:r>
                      <a:endParaRPr lang="en-US" sz="165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705" marR="22705" marT="0" marB="0" anchor="b"/>
                </a:tc>
                <a:extLst>
                  <a:ext uri="{0D108BD9-81ED-4DB2-BD59-A6C34878D82A}">
                    <a16:rowId xmlns:a16="http://schemas.microsoft.com/office/drawing/2014/main" val="374253430"/>
                  </a:ext>
                </a:extLst>
              </a:tr>
              <a:tr h="32692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2000" b="0" dirty="0">
                          <a:solidFill>
                            <a:schemeClr val="tx1"/>
                          </a:solidFill>
                          <a:effectLst/>
                        </a:rPr>
                        <a:t>All</a:t>
                      </a:r>
                      <a:endParaRPr lang="en-US" sz="18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2000" b="0" dirty="0">
                          <a:solidFill>
                            <a:schemeClr val="tx1"/>
                          </a:solidFill>
                          <a:effectLst/>
                        </a:rPr>
                        <a:t>3.1</a:t>
                      </a:r>
                      <a:endParaRPr lang="en-US" sz="18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2000" b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.5</a:t>
                      </a:r>
                      <a:endParaRPr lang="en-US" sz="18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56461766"/>
                  </a:ext>
                </a:extLst>
              </a:tr>
              <a:tr h="32692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2000" b="0" dirty="0">
                          <a:solidFill>
                            <a:schemeClr val="tx1"/>
                          </a:solidFill>
                          <a:effectLst/>
                        </a:rPr>
                        <a:t>GCC</a:t>
                      </a:r>
                      <a:endParaRPr lang="en-US" sz="18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2000" b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.4</a:t>
                      </a:r>
                      <a:endParaRPr lang="en-US" sz="18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2000" b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.2</a:t>
                      </a:r>
                      <a:endParaRPr lang="en-US" sz="18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411921837"/>
                  </a:ext>
                </a:extLst>
              </a:tr>
            </a:tbl>
          </a:graphicData>
        </a:graphic>
      </p:graphicFrame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CEE3CF0D-AE4F-F546-C286-502AB679A8C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6612013"/>
              </p:ext>
            </p:extLst>
          </p:nvPr>
        </p:nvGraphicFramePr>
        <p:xfrm>
          <a:off x="6325820" y="2686632"/>
          <a:ext cx="5776761" cy="35404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188960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9" grpId="0">
        <p:bldAsOne/>
      </p:bldGraphic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316B8079-4A76-825B-BA7C-2BAA5881359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23342" y="223718"/>
            <a:ext cx="9762981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800" spc="20" dirty="0">
                <a:solidFill>
                  <a:schemeClr val="accent1"/>
                </a:solidFill>
              </a:rPr>
              <a:t>Discount rate and export diversification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51FD9DA-198E-9CB2-345D-951617A3D39E}"/>
              </a:ext>
            </a:extLst>
          </p:cNvPr>
          <p:cNvCxnSpPr/>
          <p:nvPr/>
        </p:nvCxnSpPr>
        <p:spPr>
          <a:xfrm>
            <a:off x="526473" y="804589"/>
            <a:ext cx="3472872" cy="0"/>
          </a:xfrm>
          <a:prstGeom prst="line">
            <a:avLst/>
          </a:prstGeom>
          <a:ln w="1905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587E219F-0BFC-421B-5072-FF8FB190F363}"/>
              </a:ext>
            </a:extLst>
          </p:cNvPr>
          <p:cNvSpPr txBox="1"/>
          <p:nvPr/>
        </p:nvSpPr>
        <p:spPr>
          <a:xfrm>
            <a:off x="11813997" y="6532801"/>
            <a:ext cx="288585" cy="26668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fld id="{EFF4D7D2-636D-40D9-93B6-0CBAC255A5A5}" type="slidenum">
              <a:rPr lang="en-US" sz="1200" smtClean="0"/>
              <a:t>9</a:t>
            </a:fld>
            <a:endParaRPr lang="en-US" sz="1200" dirty="0"/>
          </a:p>
        </p:txBody>
      </p:sp>
      <p:pic>
        <p:nvPicPr>
          <p:cNvPr id="2" name="Picture 1" descr="A graph of export diversification index&#10;&#10;Description automatically generated with medium confidence">
            <a:extLst>
              <a:ext uri="{FF2B5EF4-FFF2-40B4-BE49-F238E27FC236}">
                <a16:creationId xmlns:a16="http://schemas.microsoft.com/office/drawing/2014/main" id="{BD440E88-B5F2-DC60-FA45-20FA5BADB6E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737" y="984094"/>
            <a:ext cx="6514407" cy="4738373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10E1C9A-FA6E-004B-6008-BD3E10B8F605}"/>
              </a:ext>
            </a:extLst>
          </p:cNvPr>
          <p:cNvSpPr txBox="1"/>
          <p:nvPr/>
        </p:nvSpPr>
        <p:spPr>
          <a:xfrm>
            <a:off x="7052812" y="2252096"/>
            <a:ext cx="4790245" cy="1785104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R="0">
              <a:spcBef>
                <a:spcPts val="0"/>
              </a:spcBef>
              <a:spcAft>
                <a:spcPts val="600"/>
              </a:spcAft>
            </a:pPr>
            <a:r>
              <a:rPr lang="en-US" sz="2000" dirty="0"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L</a:t>
            </a:r>
            <a:r>
              <a:rPr lang="en-US" sz="2000" dirty="0">
                <a:effectLst/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ack of export diversification </a:t>
            </a:r>
          </a:p>
          <a:p>
            <a:pPr marL="342900" marR="0" indent="-342900">
              <a:spcBef>
                <a:spcPts val="0"/>
              </a:spcBef>
              <a:spcAft>
                <a:spcPts val="600"/>
              </a:spcAft>
              <a:buClr>
                <a:srgbClr val="00B050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effectLst/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increases vulnerability to oil price fluctuations </a:t>
            </a:r>
          </a:p>
          <a:p>
            <a:pPr marL="342900" marR="0" indent="-342900">
              <a:spcBef>
                <a:spcPts val="0"/>
              </a:spcBef>
              <a:spcAft>
                <a:spcPts val="600"/>
              </a:spcAft>
              <a:buClr>
                <a:srgbClr val="00B050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t</a:t>
            </a:r>
            <a:r>
              <a:rPr lang="en-US" sz="2000" dirty="0">
                <a:effectLst/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ends to result in </a:t>
            </a:r>
            <a:r>
              <a:rPr lang="en-US" sz="2000">
                <a:effectLst/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a lower </a:t>
            </a:r>
            <a:r>
              <a:rPr lang="en-US" sz="2000" dirty="0">
                <a:effectLst/>
                <a:latin typeface="Cambria" panose="02040503050406030204" pitchFamily="18" charset="0"/>
                <a:ea typeface="Calibri" panose="020F0502020204030204" pitchFamily="34" charset="0"/>
                <a:cs typeface="Arial" panose="020B0604020202020204" pitchFamily="34" charset="0"/>
              </a:rPr>
              <a:t>risk-adjusted discount rate</a:t>
            </a:r>
            <a:endParaRPr lang="en-US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95431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YLYSbLzP8DsqQ5_IDvM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i586bxaRXNGLyq6cjU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4BZlnvKEO9ZCIa9.28.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HDEXJXmQoSsPa_AIGQP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S4IYDLSNCJ9WktW7ZdX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CzETsZQISC1z5UIOZSn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HDEXJXmQoSsPa_AIGQP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HDEXJXmQoSsPa_AIGQPg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HDEXJXmQoSsPa_AIGQP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HDEXJXmQoSsPa_AIGQPg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HDEXJXmQoSsPa_AIGQPg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HDEXJXmQoSsPa_AIGQPg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HDEXJXmQoSsPa_AIGQPg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TitleWhite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r8WAgv0cG5g7IkN2Knt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TitleWhite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r8WAgv0cG5g7IkN2Kntg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3F6B39"/>
      </a:accent1>
      <a:accent2>
        <a:srgbClr val="5D9E54"/>
      </a:accent2>
      <a:accent3>
        <a:srgbClr val="8AC58F"/>
      </a:accent3>
      <a:accent4>
        <a:srgbClr val="CAE4CB"/>
      </a:accent4>
      <a:accent5>
        <a:srgbClr val="C6BC49"/>
      </a:accent5>
      <a:accent6>
        <a:srgbClr val="969696"/>
      </a:accent6>
      <a:hlink>
        <a:srgbClr val="0000FF"/>
      </a:hlink>
      <a:folHlink>
        <a:srgbClr val="800080"/>
      </a:folHlink>
    </a:clrScheme>
    <a:fontScheme name="Custom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3F6B39"/>
        </a:accent1>
        <a:accent2>
          <a:srgbClr val="5D9E54"/>
        </a:accent2>
        <a:accent3>
          <a:srgbClr val="8AC58F"/>
        </a:accent3>
        <a:accent4>
          <a:srgbClr val="CAE4CB"/>
        </a:accent4>
        <a:accent5>
          <a:srgbClr val="C6BC49"/>
        </a:accent5>
        <a:accent6>
          <a:srgbClr val="969696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RY1628_OFF_v1.potx" id="{72187260-95FD-4CE8-B8EE-C4743EBB8797}" vid="{ECA36BBF-46F1-437D-BC7D-FF27FBA65BB5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ntrast">
  <a:themeElements>
    <a:clrScheme name="Scheme2">
      <a:dk1>
        <a:srgbClr val="FFFFFF"/>
      </a:dk1>
      <a:lt1>
        <a:srgbClr val="396234"/>
      </a:lt1>
      <a:dk2>
        <a:srgbClr val="000000"/>
      </a:dk2>
      <a:lt2>
        <a:srgbClr val="000000"/>
      </a:lt2>
      <a:accent1>
        <a:srgbClr val="FFFFFF"/>
      </a:accent1>
      <a:accent2>
        <a:srgbClr val="5D9E54"/>
      </a:accent2>
      <a:accent3>
        <a:srgbClr val="8AC58F"/>
      </a:accent3>
      <a:accent4>
        <a:srgbClr val="CAE4CB"/>
      </a:accent4>
      <a:accent5>
        <a:srgbClr val="C6BC49"/>
      </a:accent5>
      <a:accent6>
        <a:srgbClr val="969696"/>
      </a:accent6>
      <a:hlink>
        <a:srgbClr val="0000FF"/>
      </a:hlink>
      <a:folHlink>
        <a:srgbClr val="800080"/>
      </a:folHlink>
    </a:clrScheme>
    <a:fontScheme name="Custom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2">
        <a:dk1>
          <a:srgbClr val="FFFFFF"/>
        </a:dk1>
        <a:lt1>
          <a:srgbClr val="396234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5D9E54"/>
        </a:accent2>
        <a:accent3>
          <a:srgbClr val="8AC58F"/>
        </a:accent3>
        <a:accent4>
          <a:srgbClr val="CAE4CB"/>
        </a:accent4>
        <a:accent5>
          <a:srgbClr val="C6BC49"/>
        </a:accent5>
        <a:accent6>
          <a:srgbClr val="969696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RY1628_OFF_v1.potx" id="{72187260-95FD-4CE8-B8EE-C4743EBB8797}" vid="{40A4B5F1-1EBA-42FC-BE01-03080863F442}"/>
    </a:ext>
  </a:extLst>
</a:theme>
</file>

<file path=ppt/theme/theme3.xml><?xml version="1.0" encoding="utf-8"?>
<a:theme xmlns:a="http://schemas.openxmlformats.org/drawingml/2006/main" name="1_KAPRC_CF 16x9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DBDBDB"/>
      </a:lt2>
      <a:accent1>
        <a:srgbClr val="CAE4CB"/>
      </a:accent1>
      <a:accent2>
        <a:srgbClr val="8AC58F"/>
      </a:accent2>
      <a:accent3>
        <a:srgbClr val="5D9E54"/>
      </a:accent3>
      <a:accent4>
        <a:srgbClr val="3F6B39"/>
      </a:accent4>
      <a:accent5>
        <a:srgbClr val="FFD100"/>
      </a:accent5>
      <a:accent6>
        <a:srgbClr val="808080"/>
      </a:accent6>
      <a:hlink>
        <a:srgbClr val="5D9E54"/>
      </a:hlink>
      <a:folHlink>
        <a:srgbClr val="3F6B39"/>
      </a:folHlink>
    </a:clrScheme>
    <a:fontScheme name="Custom 27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DBDBDB"/>
        </a:lt2>
        <a:accent1>
          <a:srgbClr val="CAE4CB"/>
        </a:accent1>
        <a:accent2>
          <a:srgbClr val="8AC58F"/>
        </a:accent2>
        <a:accent3>
          <a:srgbClr val="5D9E54"/>
        </a:accent3>
        <a:accent4>
          <a:srgbClr val="3F6B39"/>
        </a:accent4>
        <a:accent5>
          <a:srgbClr val="FFD100"/>
        </a:accent5>
        <a:accent6>
          <a:srgbClr val="808080"/>
        </a:accent6>
        <a:hlink>
          <a:srgbClr val="5D9E54"/>
        </a:hlink>
        <a:folHlink>
          <a:srgbClr val="3F6B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KAPSARC Presentation.potx" id="{3DE14C1F-8A97-4B68-947E-6E68C1E5136B}" vid="{7A039B91-CD8F-4E72-868E-4F633D1E0AB5}"/>
    </a:ext>
  </a:extLst>
</a:theme>
</file>

<file path=ppt/theme/theme4.xml><?xml version="1.0" encoding="utf-8"?>
<a:theme xmlns:a="http://schemas.openxmlformats.org/drawingml/2006/main" name="KAPRC_CF 16x9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DBDBDB"/>
      </a:lt2>
      <a:accent1>
        <a:srgbClr val="CAE4CB"/>
      </a:accent1>
      <a:accent2>
        <a:srgbClr val="8AC58F"/>
      </a:accent2>
      <a:accent3>
        <a:srgbClr val="5D9E54"/>
      </a:accent3>
      <a:accent4>
        <a:srgbClr val="3F6B39"/>
      </a:accent4>
      <a:accent5>
        <a:srgbClr val="FFD100"/>
      </a:accent5>
      <a:accent6>
        <a:srgbClr val="808080"/>
      </a:accent6>
      <a:hlink>
        <a:srgbClr val="5D9E54"/>
      </a:hlink>
      <a:folHlink>
        <a:srgbClr val="3F6B39"/>
      </a:folHlink>
    </a:clrScheme>
    <a:fontScheme name="Custom 27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DBDBDB"/>
        </a:lt2>
        <a:accent1>
          <a:srgbClr val="CAE4CB"/>
        </a:accent1>
        <a:accent2>
          <a:srgbClr val="8AC58F"/>
        </a:accent2>
        <a:accent3>
          <a:srgbClr val="5D9E54"/>
        </a:accent3>
        <a:accent4>
          <a:srgbClr val="3F6B39"/>
        </a:accent4>
        <a:accent5>
          <a:srgbClr val="FFD100"/>
        </a:accent5>
        <a:accent6>
          <a:srgbClr val="808080"/>
        </a:accent6>
        <a:hlink>
          <a:srgbClr val="5D9E54"/>
        </a:hlink>
        <a:folHlink>
          <a:srgbClr val="3F6B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KAPSARC Presentation.potx" id="{3DE14C1F-8A97-4B68-947E-6E68C1E5136B}" vid="{7A039B91-CD8F-4E72-868E-4F633D1E0AB5}"/>
    </a:ext>
  </a:extLst>
</a:theme>
</file>

<file path=ppt/theme/theme5.xml><?xml version="1.0" encoding="utf-8"?>
<a:theme xmlns:a="http://schemas.openxmlformats.org/drawingml/2006/main" name="2_KAPRC_CF 16x9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DBDBDB"/>
      </a:lt2>
      <a:accent1>
        <a:srgbClr val="CAE4CB"/>
      </a:accent1>
      <a:accent2>
        <a:srgbClr val="8AC58F"/>
      </a:accent2>
      <a:accent3>
        <a:srgbClr val="5D9E54"/>
      </a:accent3>
      <a:accent4>
        <a:srgbClr val="3F6B39"/>
      </a:accent4>
      <a:accent5>
        <a:srgbClr val="FFD100"/>
      </a:accent5>
      <a:accent6>
        <a:srgbClr val="808080"/>
      </a:accent6>
      <a:hlink>
        <a:srgbClr val="5D9E54"/>
      </a:hlink>
      <a:folHlink>
        <a:srgbClr val="3F6B39"/>
      </a:folHlink>
    </a:clrScheme>
    <a:fontScheme name="Custom 27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DBDBDB"/>
        </a:lt2>
        <a:accent1>
          <a:srgbClr val="CAE4CB"/>
        </a:accent1>
        <a:accent2>
          <a:srgbClr val="8AC58F"/>
        </a:accent2>
        <a:accent3>
          <a:srgbClr val="5D9E54"/>
        </a:accent3>
        <a:accent4>
          <a:srgbClr val="3F6B39"/>
        </a:accent4>
        <a:accent5>
          <a:srgbClr val="FFD100"/>
        </a:accent5>
        <a:accent6>
          <a:srgbClr val="808080"/>
        </a:accent6>
        <a:hlink>
          <a:srgbClr val="5D9E54"/>
        </a:hlink>
        <a:folHlink>
          <a:srgbClr val="3F6B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KAPSARC Presentation.potx" id="{3DE14C1F-8A97-4B68-947E-6E68C1E5136B}" vid="{7A039B91-CD8F-4E72-868E-4F633D1E0AB5}"/>
    </a:ext>
  </a:extLst>
</a:theme>
</file>

<file path=ppt/theme/theme6.xml><?xml version="1.0" encoding="utf-8"?>
<a:theme xmlns:a="http://schemas.openxmlformats.org/drawingml/2006/main" name="2_KPMG_Standard_4x3_0923_2015">
  <a:themeElements>
    <a:clrScheme name="Custom 3">
      <a:dk1>
        <a:srgbClr val="000000"/>
      </a:dk1>
      <a:lt1>
        <a:srgbClr val="FFFFFF"/>
      </a:lt1>
      <a:dk2>
        <a:srgbClr val="00338D"/>
      </a:dk2>
      <a:lt2>
        <a:srgbClr val="0091DA"/>
      </a:lt2>
      <a:accent1>
        <a:srgbClr val="005EB8"/>
      </a:accent1>
      <a:accent2>
        <a:srgbClr val="0091DA"/>
      </a:accent2>
      <a:accent3>
        <a:srgbClr val="483698"/>
      </a:accent3>
      <a:accent4>
        <a:srgbClr val="470A68"/>
      </a:accent4>
      <a:accent5>
        <a:srgbClr val="6D2077"/>
      </a:accent5>
      <a:accent6>
        <a:srgbClr val="00A3A1"/>
      </a:accent6>
      <a:hlink>
        <a:srgbClr val="C6007E"/>
      </a:hlink>
      <a:folHlink>
        <a:srgbClr val="BC204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Univers for KPMG"/>
        <a:font script="Hebr" typeface="Univers for KPMG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Univers for KPMG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600" dirty="0" smtClean="0">
            <a:solidFill>
              <a:srgbClr val="003087"/>
            </a:solidFill>
            <a:latin typeface="Univers for KPMG"/>
            <a:cs typeface="Univers for KPMG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KPMG Report Standard Template.potx" id="{5E67CB3A-314B-4B72-970F-DCD15CEC7CF9}" vid="{AB8D2AB0-D185-4DD5-8E25-A0B3F8280F33}"/>
    </a:ext>
  </a:extLst>
</a:theme>
</file>

<file path=ppt/theme/theme7.xml><?xml version="1.0" encoding="utf-8"?>
<a:theme xmlns:a="http://schemas.openxmlformats.org/drawingml/2006/main" name="3_KAPRC_CF 16x9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DBDBDB"/>
      </a:lt2>
      <a:accent1>
        <a:srgbClr val="CAE4CB"/>
      </a:accent1>
      <a:accent2>
        <a:srgbClr val="8AC58F"/>
      </a:accent2>
      <a:accent3>
        <a:srgbClr val="5D9E54"/>
      </a:accent3>
      <a:accent4>
        <a:srgbClr val="3F6B39"/>
      </a:accent4>
      <a:accent5>
        <a:srgbClr val="FFD100"/>
      </a:accent5>
      <a:accent6>
        <a:srgbClr val="808080"/>
      </a:accent6>
      <a:hlink>
        <a:srgbClr val="5D9E54"/>
      </a:hlink>
      <a:folHlink>
        <a:srgbClr val="3F6B39"/>
      </a:folHlink>
    </a:clrScheme>
    <a:fontScheme name="Custom 27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DBDBDB"/>
        </a:lt2>
        <a:accent1>
          <a:srgbClr val="CAE4CB"/>
        </a:accent1>
        <a:accent2>
          <a:srgbClr val="8AC58F"/>
        </a:accent2>
        <a:accent3>
          <a:srgbClr val="5D9E54"/>
        </a:accent3>
        <a:accent4>
          <a:srgbClr val="3F6B39"/>
        </a:accent4>
        <a:accent5>
          <a:srgbClr val="FFD100"/>
        </a:accent5>
        <a:accent6>
          <a:srgbClr val="808080"/>
        </a:accent6>
        <a:hlink>
          <a:srgbClr val="5D9E54"/>
        </a:hlink>
        <a:folHlink>
          <a:srgbClr val="3F6B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KAPSARC Presentation.potx" id="{3DE14C1F-8A97-4B68-947E-6E68C1E5136B}" vid="{7A039B91-CD8F-4E72-868E-4F633D1E0AB5}"/>
    </a:ext>
  </a:extLst>
</a:theme>
</file>

<file path=ppt/theme/theme8.xml><?xml version="1.0" encoding="utf-8"?>
<a:theme xmlns:a="http://schemas.openxmlformats.org/drawingml/2006/main" name="4_KAPRC_CF 16x9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DBDBDB"/>
      </a:lt2>
      <a:accent1>
        <a:srgbClr val="CAE4CB"/>
      </a:accent1>
      <a:accent2>
        <a:srgbClr val="8AC58F"/>
      </a:accent2>
      <a:accent3>
        <a:srgbClr val="5D9E54"/>
      </a:accent3>
      <a:accent4>
        <a:srgbClr val="3F6B39"/>
      </a:accent4>
      <a:accent5>
        <a:srgbClr val="FFD100"/>
      </a:accent5>
      <a:accent6>
        <a:srgbClr val="808080"/>
      </a:accent6>
      <a:hlink>
        <a:srgbClr val="5D9E54"/>
      </a:hlink>
      <a:folHlink>
        <a:srgbClr val="3F6B39"/>
      </a:folHlink>
    </a:clrScheme>
    <a:fontScheme name="Custom 27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DBDBDB"/>
        </a:lt2>
        <a:accent1>
          <a:srgbClr val="CAE4CB"/>
        </a:accent1>
        <a:accent2>
          <a:srgbClr val="8AC58F"/>
        </a:accent2>
        <a:accent3>
          <a:srgbClr val="5D9E54"/>
        </a:accent3>
        <a:accent4>
          <a:srgbClr val="3F6B39"/>
        </a:accent4>
        <a:accent5>
          <a:srgbClr val="FFD100"/>
        </a:accent5>
        <a:accent6>
          <a:srgbClr val="808080"/>
        </a:accent6>
        <a:hlink>
          <a:srgbClr val="5D9E54"/>
        </a:hlink>
        <a:folHlink>
          <a:srgbClr val="3F6B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KAPSARC Presentation.potx" id="{3DE14C1F-8A97-4B68-947E-6E68C1E5136B}" vid="{7A039B91-CD8F-4E72-868E-4F633D1E0AB5}"/>
    </a:ext>
  </a:extLst>
</a:theme>
</file>

<file path=ppt/theme/theme9.xml><?xml version="1.0" encoding="utf-8"?>
<a:theme xmlns:a="http://schemas.openxmlformats.org/drawingml/2006/main" name="1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3F6B39"/>
      </a:accent1>
      <a:accent2>
        <a:srgbClr val="5D9E54"/>
      </a:accent2>
      <a:accent3>
        <a:srgbClr val="8AC58F"/>
      </a:accent3>
      <a:accent4>
        <a:srgbClr val="CAE4CB"/>
      </a:accent4>
      <a:accent5>
        <a:srgbClr val="C6BC49"/>
      </a:accent5>
      <a:accent6>
        <a:srgbClr val="969696"/>
      </a:accent6>
      <a:hlink>
        <a:srgbClr val="0000FF"/>
      </a:hlink>
      <a:folHlink>
        <a:srgbClr val="800080"/>
      </a:folHlink>
    </a:clrScheme>
    <a:fontScheme name="Custom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3F6B39"/>
        </a:accent1>
        <a:accent2>
          <a:srgbClr val="5D9E54"/>
        </a:accent2>
        <a:accent3>
          <a:srgbClr val="8AC58F"/>
        </a:accent3>
        <a:accent4>
          <a:srgbClr val="CAE4CB"/>
        </a:accent4>
        <a:accent5>
          <a:srgbClr val="C6BC49"/>
        </a:accent5>
        <a:accent6>
          <a:srgbClr val="969696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RY1628_OFF_v1.potx" id="{72187260-95FD-4CE8-B8EE-C4743EBB8797}" vid="{ECA36BBF-46F1-437D-BC7D-FF27FBA65BB5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a24b247d-3a02-438d-9e4e-ead77eefad96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FF9FB07C5019B419FBFB43CC3A82D21" ma:contentTypeVersion="10" ma:contentTypeDescription="Create a new document." ma:contentTypeScope="" ma:versionID="65ebee76efdcc75e32e7cebd596a5c38">
  <xsd:schema xmlns:xsd="http://www.w3.org/2001/XMLSchema" xmlns:xs="http://www.w3.org/2001/XMLSchema" xmlns:p="http://schemas.microsoft.com/office/2006/metadata/properties" xmlns:ns3="a24b247d-3a02-438d-9e4e-ead77eefad96" xmlns:ns4="20d4d64b-1bfb-4054-84b6-83f5c9f597d8" targetNamespace="http://schemas.microsoft.com/office/2006/metadata/properties" ma:root="true" ma:fieldsID="34e7efb9ee4674ad42b79c81ed428266" ns3:_="" ns4:_="">
    <xsd:import namespace="a24b247d-3a02-438d-9e4e-ead77eefad96"/>
    <xsd:import namespace="20d4d64b-1bfb-4054-84b6-83f5c9f597d8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24b247d-3a02-438d-9e4e-ead77eefad9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_activity" ma:index="14" nillable="true" ma:displayName="_activity" ma:hidden="true" ma:internalName="_activity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0d4d64b-1bfb-4054-84b6-83f5c9f597d8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CD1815A-44A5-4F6B-B62D-426CE46FE1E1}">
  <ds:schemaRefs>
    <ds:schemaRef ds:uri="http://schemas.microsoft.com/office/2006/metadata/properties"/>
    <ds:schemaRef ds:uri="http://purl.org/dc/terms/"/>
    <ds:schemaRef ds:uri="http://purl.org/dc/dcmitype/"/>
    <ds:schemaRef ds:uri="http://www.w3.org/XML/1998/namespace"/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20d4d64b-1bfb-4054-84b6-83f5c9f597d8"/>
    <ds:schemaRef ds:uri="a24b247d-3a02-438d-9e4e-ead77eefad96"/>
  </ds:schemaRefs>
</ds:datastoreItem>
</file>

<file path=customXml/itemProps2.xml><?xml version="1.0" encoding="utf-8"?>
<ds:datastoreItem xmlns:ds="http://schemas.openxmlformats.org/officeDocument/2006/customXml" ds:itemID="{E2A91B87-D727-41E1-9D49-CF59C84310A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03D8353-E7D7-4B5C-838B-D2A84018EFE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24b247d-3a02-438d-9e4e-ead77eefad96"/>
    <ds:schemaRef ds:uri="20d4d64b-1bfb-4054-84b6-83f5c9f597d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raduate Development Program - Nouf (1)</Template>
  <TotalTime>25844</TotalTime>
  <Words>1050</Words>
  <Application>Microsoft Office PowerPoint</Application>
  <PresentationFormat>Widescreen</PresentationFormat>
  <Paragraphs>196</Paragraphs>
  <Slides>13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37" baseType="lpstr">
      <vt:lpstr>Arial</vt:lpstr>
      <vt:lpstr>Arial Nova Light</vt:lpstr>
      <vt:lpstr>Calibri</vt:lpstr>
      <vt:lpstr>Cambria</vt:lpstr>
      <vt:lpstr>Cambria Math</vt:lpstr>
      <vt:lpstr>Georgia</vt:lpstr>
      <vt:lpstr>HelveticaNeueLT Arabic 55 Roman</vt:lpstr>
      <vt:lpstr>KPMG Extralight</vt:lpstr>
      <vt:lpstr>Segoe UI</vt:lpstr>
      <vt:lpstr>Teshrin AR+LT Bold</vt:lpstr>
      <vt:lpstr>Times New Roman</vt:lpstr>
      <vt:lpstr>Univers for KPMG</vt:lpstr>
      <vt:lpstr>Univers for KPMG Light</vt:lpstr>
      <vt:lpstr>Wingdings</vt:lpstr>
      <vt:lpstr>White</vt:lpstr>
      <vt:lpstr>Contrast</vt:lpstr>
      <vt:lpstr>1_KAPRC_CF 16x9</vt:lpstr>
      <vt:lpstr>KAPRC_CF 16x9</vt:lpstr>
      <vt:lpstr>2_KAPRC_CF 16x9</vt:lpstr>
      <vt:lpstr>2_KPMG_Standard_4x3_0923_2015</vt:lpstr>
      <vt:lpstr>3_KAPRC_CF 16x9</vt:lpstr>
      <vt:lpstr>4_KAPRC_CF 16x9</vt:lpstr>
      <vt:lpstr>1_White</vt:lpstr>
      <vt:lpstr>think-cell Slide</vt:lpstr>
      <vt:lpstr>How Dependence on Oil Revenues  Impacts Public Discount Rates  Fatih Karanfil and Axel Pierru</vt:lpstr>
      <vt:lpstr>Background</vt:lpstr>
      <vt:lpstr>How economic dependence on oil impacts the present value of oil-related cash flows from a public policy perspective</vt:lpstr>
      <vt:lpstr>Approach: Valuing cash flows from a public policy perspective</vt:lpstr>
      <vt:lpstr>Extended Ramsey rule and the risk premium</vt:lpstr>
      <vt:lpstr>What connection to the economic dependence on oil?</vt:lpstr>
      <vt:lpstr>Focus on GCC: The per capita consumption paradox</vt:lpstr>
      <vt:lpstr>Country-specific and pooled real public discount rates (in percent)</vt:lpstr>
      <vt:lpstr>Discount rate and export diversification</vt:lpstr>
      <vt:lpstr>How our results materially impact the public evaluation of future cash flows: A hypothetical example</vt:lpstr>
      <vt:lpstr>How our results materially impact the public evaluation of future cash flows</vt:lpstr>
      <vt:lpstr>Why it matters?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lideFactory</dc:creator>
  <cp:lastModifiedBy>Karanfil, Fatih</cp:lastModifiedBy>
  <cp:revision>76</cp:revision>
  <dcterms:created xsi:type="dcterms:W3CDTF">2023-01-25T18:15:16Z</dcterms:created>
  <dcterms:modified xsi:type="dcterms:W3CDTF">2023-12-15T19:06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3-01-23T00:00:00Z</vt:filetime>
  </property>
  <property fmtid="{D5CDD505-2E9C-101B-9397-08002B2CF9AE}" pid="3" name="Creator">
    <vt:lpwstr>Microsoft® PowerPoint® 2019</vt:lpwstr>
  </property>
  <property fmtid="{D5CDD505-2E9C-101B-9397-08002B2CF9AE}" pid="4" name="LastSaved">
    <vt:filetime>2023-01-25T00:00:00Z</vt:filetime>
  </property>
  <property fmtid="{D5CDD505-2E9C-101B-9397-08002B2CF9AE}" pid="5" name="ContentTypeId">
    <vt:lpwstr>0x0101009FF9FB07C5019B419FBFB43CC3A82D21</vt:lpwstr>
  </property>
  <property fmtid="{D5CDD505-2E9C-101B-9397-08002B2CF9AE}" pid="6" name="MSIP_Label_3e8d34d1-3830-4ae1-841c-ed04f7a732ea_Enabled">
    <vt:lpwstr>true</vt:lpwstr>
  </property>
  <property fmtid="{D5CDD505-2E9C-101B-9397-08002B2CF9AE}" pid="7" name="MSIP_Label_3e8d34d1-3830-4ae1-841c-ed04f7a732ea_SetDate">
    <vt:lpwstr>2023-08-30T07:03:15Z</vt:lpwstr>
  </property>
  <property fmtid="{D5CDD505-2E9C-101B-9397-08002B2CF9AE}" pid="8" name="MSIP_Label_3e8d34d1-3830-4ae1-841c-ed04f7a732ea_Method">
    <vt:lpwstr>Privileged</vt:lpwstr>
  </property>
  <property fmtid="{D5CDD505-2E9C-101B-9397-08002B2CF9AE}" pid="9" name="MSIP_Label_3e8d34d1-3830-4ae1-841c-ed04f7a732ea_Name">
    <vt:lpwstr>Public</vt:lpwstr>
  </property>
  <property fmtid="{D5CDD505-2E9C-101B-9397-08002B2CF9AE}" pid="10" name="MSIP_Label_3e8d34d1-3830-4ae1-841c-ed04f7a732ea_SiteId">
    <vt:lpwstr>9d1eab37-c590-430b-ba29-48eeaea0eee2</vt:lpwstr>
  </property>
  <property fmtid="{D5CDD505-2E9C-101B-9397-08002B2CF9AE}" pid="11" name="MSIP_Label_3e8d34d1-3830-4ae1-841c-ed04f7a732ea_ActionId">
    <vt:lpwstr>b486ddba-2743-40b3-991d-61b2b41f0cf5</vt:lpwstr>
  </property>
  <property fmtid="{D5CDD505-2E9C-101B-9397-08002B2CF9AE}" pid="12" name="MSIP_Label_3e8d34d1-3830-4ae1-841c-ed04f7a732ea_ContentBits">
    <vt:lpwstr>1</vt:lpwstr>
  </property>
  <property fmtid="{D5CDD505-2E9C-101B-9397-08002B2CF9AE}" pid="13" name="ClassificationContentMarkingHeaderLocations">
    <vt:lpwstr>White:7\Contrast:6\1_KAPRC_CF 16x9:5\KAPRC_CF 16x9:5\2_KAPRC_CF 16x9:5\2_KPMG_Standard_4x3_0923_2015:4\3_KAPRC_CF 16x9:4\4_KAPRC_CF 16x9:4\1_White:7</vt:lpwstr>
  </property>
  <property fmtid="{D5CDD505-2E9C-101B-9397-08002B2CF9AE}" pid="14" name="ClassificationContentMarkingHeaderText">
    <vt:lpwstr>Classified as Public and Information can be shared with anyone needful of the Information.</vt:lpwstr>
  </property>
</Properties>
</file>